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jpeg" ContentType="image/jpeg"/>
  <Default Extension="emf" ContentType="image/x-emf"/>
  <Default Extension="rels" ContentType="application/vnd.openxmlformats-package.relationships+xml"/>
  <Default Extension="tmp" ContentType="image/png"/>
  <Default Extension="vml" ContentType="application/vnd.openxmlformats-officedocument.vmlDrawing"/>
  <Default Extension="gif" ContentType="image/gif"/>
  <Default Extension="png" ContentType="image/png"/>
  <Default Extension="bin" ContentType="application/vnd.openxmlformats-officedocument.oleObjec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comments/comment1.xml" ContentType="application/vnd.openxmlformats-officedocument.presentationml.comments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notesSlides/notesSlide5.xml" ContentType="application/vnd.openxmlformats-officedocument.presentationml.notesSlide+xml"/>
  <Override PartName="/ppt/tags/tag6.xml" ContentType="application/vnd.openxmlformats-officedocument.presentationml.tags+xml"/>
  <Override PartName="/ppt/notesSlides/notesSlide6.xml" ContentType="application/vnd.openxmlformats-officedocument.presentationml.notesSlide+xml"/>
  <Override PartName="/ppt/tags/tag7.xml" ContentType="application/vnd.openxmlformats-officedocument.presentationml.tags+xml"/>
  <Override PartName="/ppt/notesSlides/notesSlide7.xml" ContentType="application/vnd.openxmlformats-officedocument.presentationml.notesSlide+xml"/>
  <Override PartName="/ppt/tags/tag8.xml" ContentType="application/vnd.openxmlformats-officedocument.presentationml.tags+xml"/>
  <Override PartName="/ppt/notesSlides/notesSlide8.xml" ContentType="application/vnd.openxmlformats-officedocument.presentationml.notesSlide+xml"/>
  <Override PartName="/ppt/tags/tag9.xml" ContentType="application/vnd.openxmlformats-officedocument.presentationml.tags+xml"/>
  <Override PartName="/ppt/notesSlides/notesSlide9.xml" ContentType="application/vnd.openxmlformats-officedocument.presentationml.notesSlide+xml"/>
  <Override PartName="/ppt/comments/comment2.xml" ContentType="application/vnd.openxmlformats-officedocument.presentationml.comments+xml"/>
  <Override PartName="/ppt/tags/tag10.xml" ContentType="application/vnd.openxmlformats-officedocument.presentationml.tags+xml"/>
  <Override PartName="/ppt/notesSlides/notesSlide10.xml" ContentType="application/vnd.openxmlformats-officedocument.presentationml.notesSlide+xml"/>
  <Override PartName="/ppt/tags/tag11.xml" ContentType="application/vnd.openxmlformats-officedocument.presentationml.tags+xml"/>
  <Override PartName="/ppt/notesSlides/notesSlide11.xml" ContentType="application/vnd.openxmlformats-officedocument.presentationml.notesSlide+xml"/>
  <Override PartName="/ppt/tags/tag12.xml" ContentType="application/vnd.openxmlformats-officedocument.presentationml.tags+xml"/>
  <Override PartName="/ppt/notesSlides/notesSlide12.xml" ContentType="application/vnd.openxmlformats-officedocument.presentationml.notesSlide+xml"/>
  <Override PartName="/ppt/tags/tag13.xml" ContentType="application/vnd.openxmlformats-officedocument.presentationml.tags+xml"/>
  <Override PartName="/ppt/notesSlides/notesSlide13.xml" ContentType="application/vnd.openxmlformats-officedocument.presentationml.notesSlide+xml"/>
  <Override PartName="/ppt/tags/tag14.xml" ContentType="application/vnd.openxmlformats-officedocument.presentationml.tags+xml"/>
  <Override PartName="/ppt/notesSlides/notesSlide14.xml" ContentType="application/vnd.openxmlformats-officedocument.presentationml.notesSlide+xml"/>
  <Override PartName="/ppt/tags/tag15.xml" ContentType="application/vnd.openxmlformats-officedocument.presentationml.tags+xml"/>
  <Override PartName="/ppt/notesSlides/notesSlide15.xml" ContentType="application/vnd.openxmlformats-officedocument.presentationml.notesSlide+xml"/>
  <Override PartName="/ppt/comments/comment3.xml" ContentType="application/vnd.openxmlformats-officedocument.presentationml.comments+xml"/>
  <Override PartName="/ppt/tags/tag16.xml" ContentType="application/vnd.openxmlformats-officedocument.presentationml.tags+xml"/>
  <Override PartName="/ppt/notesSlides/notesSlide16.xml" ContentType="application/vnd.openxmlformats-officedocument.presentationml.notesSlide+xml"/>
  <Override PartName="/ppt/comments/comment4.xml" ContentType="application/vnd.openxmlformats-officedocument.presentationml.comments+xml"/>
  <Override PartName="/ppt/tags/tag17.xml" ContentType="application/vnd.openxmlformats-officedocument.presentationml.tags+xml"/>
  <Override PartName="/ppt/notesSlides/notesSlide17.xml" ContentType="application/vnd.openxmlformats-officedocument.presentationml.notesSlide+xml"/>
  <Override PartName="/ppt/comments/comment5.xml" ContentType="application/vnd.openxmlformats-officedocument.presentationml.comments+xml"/>
  <Override PartName="/ppt/tags/tag18.xml" ContentType="application/vnd.openxmlformats-officedocument.presentationml.tags+xml"/>
  <Override PartName="/ppt/notesSlides/notesSlide18.xml" ContentType="application/vnd.openxmlformats-officedocument.presentationml.notesSlide+xml"/>
  <Override PartName="/ppt/tags/tag19.xml" ContentType="application/vnd.openxmlformats-officedocument.presentationml.tags+xml"/>
  <Override PartName="/ppt/notesSlides/notesSlide19.xml" ContentType="application/vnd.openxmlformats-officedocument.presentationml.notesSlide+xml"/>
  <Override PartName="/ppt/tags/tag20.xml" ContentType="application/vnd.openxmlformats-officedocument.presentationml.tags+xml"/>
  <Override PartName="/ppt/notesSlides/notesSlide20.xml" ContentType="application/vnd.openxmlformats-officedocument.presentationml.notesSlide+xml"/>
  <Override PartName="/ppt/tags/tag21.xml" ContentType="application/vnd.openxmlformats-officedocument.presentationml.tags+xml"/>
  <Override PartName="/ppt/notesSlides/notesSlide21.xml" ContentType="application/vnd.openxmlformats-officedocument.presentationml.notesSlide+xml"/>
  <Override PartName="/ppt/tags/tag22.xml" ContentType="application/vnd.openxmlformats-officedocument.presentationml.tags+xml"/>
  <Override PartName="/ppt/notesSlides/notesSlide22.xml" ContentType="application/vnd.openxmlformats-officedocument.presentationml.notesSlide+xml"/>
  <Override PartName="/ppt/tags/tag23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24.xml" ContentType="application/vnd.openxmlformats-officedocument.presentationml.tags+xml"/>
  <Override PartName="/ppt/notesSlides/notesSlide25.xml" ContentType="application/vnd.openxmlformats-officedocument.presentationml.notesSlide+xml"/>
  <Override PartName="/ppt/tags/tag25.xml" ContentType="application/vnd.openxmlformats-officedocument.presentationml.tags+xml"/>
  <Override PartName="/ppt/notesSlides/notesSlide26.xml" ContentType="application/vnd.openxmlformats-officedocument.presentationml.notesSlide+xml"/>
  <Override PartName="/ppt/comments/comment6.xml" ContentType="application/vnd.openxmlformats-officedocument.presentationml.comment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684" r:id="rId2"/>
    <p:sldMasterId id="2147483708" r:id="rId3"/>
  </p:sldMasterIdLst>
  <p:notesMasterIdLst>
    <p:notesMasterId r:id="rId33"/>
  </p:notesMasterIdLst>
  <p:sldIdLst>
    <p:sldId id="286" r:id="rId4"/>
    <p:sldId id="257" r:id="rId5"/>
    <p:sldId id="258" r:id="rId6"/>
    <p:sldId id="259" r:id="rId7"/>
    <p:sldId id="260" r:id="rId8"/>
    <p:sldId id="262" r:id="rId9"/>
    <p:sldId id="289" r:id="rId10"/>
    <p:sldId id="263" r:id="rId11"/>
    <p:sldId id="264" r:id="rId12"/>
    <p:sldId id="265" r:id="rId13"/>
    <p:sldId id="266" r:id="rId14"/>
    <p:sldId id="267" r:id="rId15"/>
    <p:sldId id="268" r:id="rId16"/>
    <p:sldId id="269" r:id="rId17"/>
    <p:sldId id="270" r:id="rId18"/>
    <p:sldId id="272" r:id="rId19"/>
    <p:sldId id="284" r:id="rId20"/>
    <p:sldId id="273" r:id="rId21"/>
    <p:sldId id="274" r:id="rId22"/>
    <p:sldId id="275" r:id="rId23"/>
    <p:sldId id="276" r:id="rId24"/>
    <p:sldId id="277" r:id="rId25"/>
    <p:sldId id="278" r:id="rId26"/>
    <p:sldId id="279" r:id="rId27"/>
    <p:sldId id="280" r:id="rId28"/>
    <p:sldId id="281" r:id="rId29"/>
    <p:sldId id="282" r:id="rId30"/>
    <p:sldId id="261" r:id="rId31"/>
    <p:sldId id="283" r:id="rId3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lissa Morris" initials="MM" lastIdx="16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470" autoAdjust="0"/>
    <p:restoredTop sz="94660"/>
  </p:normalViewPr>
  <p:slideViewPr>
    <p:cSldViewPr snapToGrid="0">
      <p:cViewPr varScale="1">
        <p:scale>
          <a:sx n="105" d="100"/>
          <a:sy n="105" d="100"/>
        </p:scale>
        <p:origin x="216" y="7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17.xml"/><Relationship Id="rId21" Type="http://schemas.openxmlformats.org/officeDocument/2006/relationships/slide" Target="slides/slide18.xml"/><Relationship Id="rId22" Type="http://schemas.openxmlformats.org/officeDocument/2006/relationships/slide" Target="slides/slide19.xml"/><Relationship Id="rId23" Type="http://schemas.openxmlformats.org/officeDocument/2006/relationships/slide" Target="slides/slide20.xml"/><Relationship Id="rId24" Type="http://schemas.openxmlformats.org/officeDocument/2006/relationships/slide" Target="slides/slide21.xml"/><Relationship Id="rId25" Type="http://schemas.openxmlformats.org/officeDocument/2006/relationships/slide" Target="slides/slide22.xml"/><Relationship Id="rId26" Type="http://schemas.openxmlformats.org/officeDocument/2006/relationships/slide" Target="slides/slide23.xml"/><Relationship Id="rId27" Type="http://schemas.openxmlformats.org/officeDocument/2006/relationships/slide" Target="slides/slide24.xml"/><Relationship Id="rId28" Type="http://schemas.openxmlformats.org/officeDocument/2006/relationships/slide" Target="slides/slide25.xml"/><Relationship Id="rId29" Type="http://schemas.openxmlformats.org/officeDocument/2006/relationships/slide" Target="slides/slide26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" Target="slides/slide1.xml"/><Relationship Id="rId5" Type="http://schemas.openxmlformats.org/officeDocument/2006/relationships/slide" Target="slides/slide2.xml"/><Relationship Id="rId30" Type="http://schemas.openxmlformats.org/officeDocument/2006/relationships/slide" Target="slides/slide27.xml"/><Relationship Id="rId31" Type="http://schemas.openxmlformats.org/officeDocument/2006/relationships/slide" Target="slides/slide28.xml"/><Relationship Id="rId32" Type="http://schemas.openxmlformats.org/officeDocument/2006/relationships/slide" Target="slides/slide29.xml"/><Relationship Id="rId9" Type="http://schemas.openxmlformats.org/officeDocument/2006/relationships/slide" Target="slides/slide6.xml"/><Relationship Id="rId6" Type="http://schemas.openxmlformats.org/officeDocument/2006/relationships/slide" Target="slides/slide3.xml"/><Relationship Id="rId7" Type="http://schemas.openxmlformats.org/officeDocument/2006/relationships/slide" Target="slides/slide4.xml"/><Relationship Id="rId8" Type="http://schemas.openxmlformats.org/officeDocument/2006/relationships/slide" Target="slides/slide5.xml"/><Relationship Id="rId33" Type="http://schemas.openxmlformats.org/officeDocument/2006/relationships/notesMaster" Target="notesMasters/notesMaster1.xml"/><Relationship Id="rId34" Type="http://schemas.openxmlformats.org/officeDocument/2006/relationships/commentAuthors" Target="commentAuthors.xml"/><Relationship Id="rId35" Type="http://schemas.openxmlformats.org/officeDocument/2006/relationships/presProps" Target="presProps.xml"/><Relationship Id="rId36" Type="http://schemas.openxmlformats.org/officeDocument/2006/relationships/viewProps" Target="viewProps.xml"/><Relationship Id="rId10" Type="http://schemas.openxmlformats.org/officeDocument/2006/relationships/slide" Target="slides/slide7.xml"/><Relationship Id="rId11" Type="http://schemas.openxmlformats.org/officeDocument/2006/relationships/slide" Target="slides/slide8.xml"/><Relationship Id="rId12" Type="http://schemas.openxmlformats.org/officeDocument/2006/relationships/slide" Target="slides/slide9.xml"/><Relationship Id="rId13" Type="http://schemas.openxmlformats.org/officeDocument/2006/relationships/slide" Target="slides/slide10.xml"/><Relationship Id="rId14" Type="http://schemas.openxmlformats.org/officeDocument/2006/relationships/slide" Target="slides/slide11.xml"/><Relationship Id="rId15" Type="http://schemas.openxmlformats.org/officeDocument/2006/relationships/slide" Target="slides/slide12.xml"/><Relationship Id="rId16" Type="http://schemas.openxmlformats.org/officeDocument/2006/relationships/slide" Target="slides/slide13.xml"/><Relationship Id="rId17" Type="http://schemas.openxmlformats.org/officeDocument/2006/relationships/slide" Target="slides/slide14.xml"/><Relationship Id="rId18" Type="http://schemas.openxmlformats.org/officeDocument/2006/relationships/slide" Target="slides/slide15.xml"/><Relationship Id="rId19" Type="http://schemas.openxmlformats.org/officeDocument/2006/relationships/slide" Target="slides/slide16.xml"/><Relationship Id="rId37" Type="http://schemas.openxmlformats.org/officeDocument/2006/relationships/theme" Target="theme/theme1.xml"/><Relationship Id="rId38" Type="http://schemas.openxmlformats.org/officeDocument/2006/relationships/tableStyles" Target="tableStyles.xml"/><Relationship Id="rId39" Type="http://schemas.microsoft.com/office/2015/10/relationships/revisionInfo" Target="revisionInfo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3-12-21T15:54:13.271" idx="13">
    <p:pos x="3116" y="3089"/>
    <p:text>To prepare for this fun activity, refer to the the Prep and Followup guide for the Getting Started BIT, starting with slide ____.
Make sure you insert your room number that will be generated during setup here. This will not change over time; so once you have it set up, you're good to go.</p:text>
  </p:cm>
</p:cmLst>
</file>

<file path=ppt/comments/comment2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3-12-21T15:54:13.271" idx="14">
    <p:pos x="3116" y="3089"/>
    <p:text>To prepare for this fun activity, refer to the the Prep and Followup guide for the Getting Started BIT, starting with slide ____.
Make sure you insert your room number that will be generated during setup here. This will not change over time; so once you have it set up, you're good to go.</p:text>
  </p:cm>
</p:cmLst>
</file>

<file path=ppt/comments/comment3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3-12-21T15:54:13.271" idx="15">
    <p:pos x="3116" y="3089"/>
    <p:text>To prepare for this fun activity, refer to the the Prep and Followup guide for the Getting Started BIT, starting with slide ____.
Make sure you insert your room number that will be generated during setup here. This will not change over time; so once you have it set up, you're good to go.</p:text>
  </p:cm>
</p:cmLst>
</file>

<file path=ppt/comments/comment4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3-12-21T15:54:13.271" idx="15">
    <p:pos x="3116" y="3089"/>
    <p:text>To prepare for this fun activity, refer to the the Prep and Followup guide for the Getting Started BIT, starting with slide ____.
Make sure you insert your room number that will be generated during setup here. This will not change over time; so once you have it set up, you're good to go.</p:text>
  </p:cm>
</p:cmLst>
</file>

<file path=ppt/comments/comment5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3-12-21T15:54:13.271" idx="16">
    <p:pos x="3116" y="3089"/>
    <p:text>To prepare for this fun activity, refer to the the Prep and Followup guide for the Getting Started BIT, starting with slide ____.
Make sure you insert your room number that will be generated during setup here. This will not change over time; so once you have it set up, you're good to go.</p:text>
  </p:cm>
</p:cmLst>
</file>

<file path=ppt/comments/comment6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3-12-21T15:54:13.271" idx="12">
    <p:pos x="3116" y="3089"/>
    <p:text>To prepare for this fun activity, refer to the the Prep and Followup guide for the Getting Started BIT, starting with slide ____.
Make sure you insert your room number that will be generated during setup here. This will not change over time; so once you have it set up, you're good to go.</p:text>
  </p:cm>
</p:cmLst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B1150CD-C46F-493E-AFBB-A91B96ACBC5D}" type="datetimeFigureOut">
              <a:rPr lang="en-US" smtClean="0"/>
              <a:t>12/10/17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84F07CB-8141-438D-BA05-116E870E688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45287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4.xml"/></Relationships>
</file>

<file path=ppt/notesSlides/_rels/notesSlide2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5.xml"/></Relationships>
</file>

<file path=ppt/notesSlides/_rels/notesSlide2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6.xml"/></Relationships>
</file>

<file path=ppt/notesSlides/_rels/notesSlide2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7.xml"/></Relationships>
</file>

<file path=ppt/notesSlides/_rels/notesSlide2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8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0" u="none" dirty="0"/>
          </a:p>
          <a:p>
            <a:r>
              <a:rPr lang="en-US" b="0" u="none" dirty="0"/>
              <a:t>As we close out this section,</a:t>
            </a:r>
            <a:r>
              <a:rPr lang="en-US" b="0" u="none" baseline="0" dirty="0"/>
              <a:t> let’s have a little fun with our last topic – [click] Student Navigation During Sessions.</a:t>
            </a:r>
          </a:p>
          <a:p>
            <a:endParaRPr lang="en-US" b="0" u="none" baseline="0" dirty="0"/>
          </a:p>
          <a:p>
            <a:r>
              <a:rPr lang="en-US" b="0" u="none" baseline="0" dirty="0"/>
              <a:t>To take the quiz, [click] open a browser to the following </a:t>
            </a:r>
            <a:r>
              <a:rPr lang="en-US" b="0" u="none" baseline="0" dirty="0" err="1"/>
              <a:t>url</a:t>
            </a:r>
            <a:r>
              <a:rPr lang="en-US" b="0" u="none" baseline="0" dirty="0"/>
              <a:t> or [click]download the Student Clicker – </a:t>
            </a:r>
            <a:r>
              <a:rPr lang="en-US" b="0" u="none" baseline="0" dirty="0" err="1"/>
              <a:t>Socrative</a:t>
            </a:r>
            <a:r>
              <a:rPr lang="en-US" b="0" u="none" baseline="0" dirty="0"/>
              <a:t> app.</a:t>
            </a:r>
          </a:p>
          <a:p>
            <a:endParaRPr lang="en-US" b="0" u="none" baseline="0" dirty="0"/>
          </a:p>
          <a:p>
            <a:r>
              <a:rPr lang="en-US" b="0" u="none" baseline="0" dirty="0"/>
              <a:t>When you are ready, [click] type in the room number listed on the screen.</a:t>
            </a:r>
            <a:endParaRPr lang="en-US" b="0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F2E06-095A-4DCF-8FBB-C3386AA5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260543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1" u="sng" dirty="0"/>
          </a:p>
          <a:p>
            <a:r>
              <a:rPr lang="en-US" dirty="0"/>
              <a:t>The new Action</a:t>
            </a:r>
            <a:r>
              <a:rPr lang="en-US" baseline="0" dirty="0"/>
              <a:t> Areas tool [click] </a:t>
            </a:r>
            <a:r>
              <a:rPr lang="en-US" dirty="0"/>
              <a:t>not only provides</a:t>
            </a:r>
            <a:r>
              <a:rPr lang="en-US" baseline="0" dirty="0"/>
              <a:t> current data for selected groups of students, but [click] also provides the means for you to intervene directly with a group of students right from the interactive tool panel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968F0A-81EE-414F-A942-9F58B6B0E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3684264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1" u="sng" dirty="0"/>
          </a:p>
          <a:p>
            <a:r>
              <a:rPr lang="en-US" dirty="0"/>
              <a:t>The new Action</a:t>
            </a:r>
            <a:r>
              <a:rPr lang="en-US" baseline="0" dirty="0"/>
              <a:t> Areas tool [click] </a:t>
            </a:r>
            <a:r>
              <a:rPr lang="en-US" dirty="0"/>
              <a:t>not only provides</a:t>
            </a:r>
            <a:r>
              <a:rPr lang="en-US" baseline="0" dirty="0"/>
              <a:t> current data for selected groups of students, but [click] also provides the means for you to intervene directly with a group of students right from the interactive tool panel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968F0A-81EE-414F-A942-9F58B6B0E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52753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1" u="sng" dirty="0"/>
          </a:p>
          <a:p>
            <a:r>
              <a:rPr lang="en-US" dirty="0"/>
              <a:t>The new Action</a:t>
            </a:r>
            <a:r>
              <a:rPr lang="en-US" baseline="0" dirty="0"/>
              <a:t> Areas tool [click] </a:t>
            </a:r>
            <a:r>
              <a:rPr lang="en-US" dirty="0"/>
              <a:t>not only provides</a:t>
            </a:r>
            <a:r>
              <a:rPr lang="en-US" baseline="0" dirty="0"/>
              <a:t> current data for selected groups of students, but [click] also provides the means for you to intervene directly with a group of students right from the interactive tool panel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968F0A-81EE-414F-A942-9F58B6B0E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6527344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1" u="sng" dirty="0"/>
          </a:p>
          <a:p>
            <a:r>
              <a:rPr lang="en-US" dirty="0"/>
              <a:t>The new Action</a:t>
            </a:r>
            <a:r>
              <a:rPr lang="en-US" baseline="0" dirty="0"/>
              <a:t> Areas tool [click] </a:t>
            </a:r>
            <a:r>
              <a:rPr lang="en-US" dirty="0"/>
              <a:t>not only provides</a:t>
            </a:r>
            <a:r>
              <a:rPr lang="en-US" baseline="0" dirty="0"/>
              <a:t> current data for selected groups of students, but [click] also provides the means for you to intervene directly with a group of students right from the interactive tool panel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968F0A-81EE-414F-A942-9F58B6B0E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934286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1" u="sng" dirty="0"/>
          </a:p>
          <a:p>
            <a:r>
              <a:rPr lang="en-US" dirty="0"/>
              <a:t>The new Action</a:t>
            </a:r>
            <a:r>
              <a:rPr lang="en-US" baseline="0" dirty="0"/>
              <a:t> Areas tool [click] </a:t>
            </a:r>
            <a:r>
              <a:rPr lang="en-US" dirty="0"/>
              <a:t>not only provides</a:t>
            </a:r>
            <a:r>
              <a:rPr lang="en-US" baseline="0" dirty="0"/>
              <a:t> current data for selected groups of students, but [click] also provides the means for you to intervene directly with a group of students right from the interactive tool panel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968F0A-81EE-414F-A942-9F58B6B0E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100436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0" u="none" dirty="0"/>
          </a:p>
          <a:p>
            <a:r>
              <a:rPr lang="en-US" b="0" u="none" dirty="0"/>
              <a:t>As we close out this section,</a:t>
            </a:r>
            <a:r>
              <a:rPr lang="en-US" b="0" u="none" baseline="0" dirty="0"/>
              <a:t> let’s have a little fun with our last topic – [click] Student Navigation During Sessions.</a:t>
            </a:r>
          </a:p>
          <a:p>
            <a:endParaRPr lang="en-US" b="0" u="none" baseline="0" dirty="0"/>
          </a:p>
          <a:p>
            <a:r>
              <a:rPr lang="en-US" b="0" u="none" baseline="0" dirty="0"/>
              <a:t>To take the quiz, [click] open </a:t>
            </a:r>
            <a:r>
              <a:rPr lang="en-US" b="0" u="none" baseline="0" dirty="0" err="1"/>
              <a:t>wa</a:t>
            </a:r>
            <a:r>
              <a:rPr lang="en-US" b="0" u="none" baseline="0" dirty="0"/>
              <a:t> browser to the following </a:t>
            </a:r>
            <a:r>
              <a:rPr lang="en-US" b="0" u="none" baseline="0" dirty="0" err="1"/>
              <a:t>url</a:t>
            </a:r>
            <a:r>
              <a:rPr lang="en-US" b="0" u="none" baseline="0" dirty="0"/>
              <a:t> or [click]download the Student Clicker – </a:t>
            </a:r>
            <a:r>
              <a:rPr lang="en-US" b="0" u="none" baseline="0" dirty="0" err="1"/>
              <a:t>Socrative</a:t>
            </a:r>
            <a:r>
              <a:rPr lang="en-US" b="0" u="none" baseline="0" dirty="0"/>
              <a:t> app.</a:t>
            </a:r>
          </a:p>
          <a:p>
            <a:endParaRPr lang="en-US" b="0" u="none" baseline="0" dirty="0"/>
          </a:p>
          <a:p>
            <a:r>
              <a:rPr lang="en-US" b="0" u="none" baseline="0" dirty="0"/>
              <a:t>When you are ready, [click] type in the room number listed on the screen.</a:t>
            </a:r>
            <a:endParaRPr lang="en-US" b="0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F2E06-095A-4DCF-8FBB-C3386AA5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830953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0" u="none" dirty="0"/>
          </a:p>
          <a:p>
            <a:r>
              <a:rPr lang="en-US" b="0" u="none" dirty="0"/>
              <a:t>As we close out this section,</a:t>
            </a:r>
            <a:r>
              <a:rPr lang="en-US" b="0" u="none" baseline="0" dirty="0"/>
              <a:t> let’s have a little fun with our last topic – [click] Student Navigation During Sessions.</a:t>
            </a:r>
          </a:p>
          <a:p>
            <a:endParaRPr lang="en-US" b="0" u="none" baseline="0" dirty="0"/>
          </a:p>
          <a:p>
            <a:r>
              <a:rPr lang="en-US" b="0" u="none" baseline="0" dirty="0"/>
              <a:t>To take the quiz, [click] open </a:t>
            </a:r>
            <a:r>
              <a:rPr lang="en-US" b="0" u="none" baseline="0" dirty="0" err="1"/>
              <a:t>wa</a:t>
            </a:r>
            <a:r>
              <a:rPr lang="en-US" b="0" u="none" baseline="0" dirty="0"/>
              <a:t> browser to the following </a:t>
            </a:r>
            <a:r>
              <a:rPr lang="en-US" b="0" u="none" baseline="0" dirty="0" err="1"/>
              <a:t>url</a:t>
            </a:r>
            <a:r>
              <a:rPr lang="en-US" b="0" u="none" baseline="0" dirty="0"/>
              <a:t> or [click]download the Student Clicker – </a:t>
            </a:r>
            <a:r>
              <a:rPr lang="en-US" b="0" u="none" baseline="0" dirty="0" err="1"/>
              <a:t>Socrative</a:t>
            </a:r>
            <a:r>
              <a:rPr lang="en-US" b="0" u="none" baseline="0" dirty="0"/>
              <a:t> app.</a:t>
            </a:r>
          </a:p>
          <a:p>
            <a:endParaRPr lang="en-US" b="0" u="none" baseline="0" dirty="0"/>
          </a:p>
          <a:p>
            <a:r>
              <a:rPr lang="en-US" b="0" u="none" baseline="0" dirty="0"/>
              <a:t>When you are ready, [click] type in the room number listed on the screen.</a:t>
            </a:r>
            <a:endParaRPr lang="en-US" b="0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F2E06-095A-4DCF-8FBB-C3386AA5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928011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0" u="none" dirty="0"/>
          </a:p>
          <a:p>
            <a:r>
              <a:rPr lang="en-US" b="0" u="none" dirty="0"/>
              <a:t>As we close out this section,</a:t>
            </a:r>
            <a:r>
              <a:rPr lang="en-US" b="0" u="none" baseline="0" dirty="0"/>
              <a:t> let’s have a little fun with our last topic – [click] Student Navigation During Sessions.</a:t>
            </a:r>
          </a:p>
          <a:p>
            <a:endParaRPr lang="en-US" b="0" u="none" baseline="0" dirty="0"/>
          </a:p>
          <a:p>
            <a:r>
              <a:rPr lang="en-US" b="0" u="none" baseline="0" dirty="0"/>
              <a:t>To take the quiz, [click] open </a:t>
            </a:r>
            <a:r>
              <a:rPr lang="en-US" b="0" u="none" baseline="0" dirty="0" err="1"/>
              <a:t>wa</a:t>
            </a:r>
            <a:r>
              <a:rPr lang="en-US" b="0" u="none" baseline="0" dirty="0"/>
              <a:t> browser to the following </a:t>
            </a:r>
            <a:r>
              <a:rPr lang="en-US" b="0" u="none" baseline="0" dirty="0" err="1"/>
              <a:t>url</a:t>
            </a:r>
            <a:r>
              <a:rPr lang="en-US" b="0" u="none" baseline="0" dirty="0"/>
              <a:t> or [click]download the Student Clicker – </a:t>
            </a:r>
            <a:r>
              <a:rPr lang="en-US" b="0" u="none" baseline="0" dirty="0" err="1"/>
              <a:t>Socrative</a:t>
            </a:r>
            <a:r>
              <a:rPr lang="en-US" b="0" u="none" baseline="0" dirty="0"/>
              <a:t> app.</a:t>
            </a:r>
          </a:p>
          <a:p>
            <a:endParaRPr lang="en-US" b="0" u="none" baseline="0" dirty="0"/>
          </a:p>
          <a:p>
            <a:r>
              <a:rPr lang="en-US" b="0" u="none" baseline="0" dirty="0"/>
              <a:t>When you are ready, [click] type in the room number listed on the screen.</a:t>
            </a:r>
            <a:endParaRPr lang="en-US" b="0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F2E06-095A-4DCF-8FBB-C3386AA5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141189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1" u="sng" dirty="0"/>
          </a:p>
          <a:p>
            <a:r>
              <a:rPr lang="en-US" dirty="0"/>
              <a:t>The new Action</a:t>
            </a:r>
            <a:r>
              <a:rPr lang="en-US" baseline="0" dirty="0"/>
              <a:t> Areas tool [click] </a:t>
            </a:r>
            <a:r>
              <a:rPr lang="en-US" dirty="0"/>
              <a:t>not only provides</a:t>
            </a:r>
            <a:r>
              <a:rPr lang="en-US" baseline="0" dirty="0"/>
              <a:t> current data for selected groups of students, but [click] also provides the means for you to intervene directly with a group of students right from the interactive tool panel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968F0A-81EE-414F-A942-9F58B6B0E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378342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z="1200" b="1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ample</a:t>
            </a:r>
            <a:r>
              <a:rPr lang="en-US" sz="1200" b="1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Verbiage: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t’s pair up the students and print out the book for them to practice their fluency and reading together.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818305-3C83-476C-83CC-42533D3ECD9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9623333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B4C1A5-EB5A-4C12-A9A0-B55A3AC298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672526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1" u="sng" dirty="0"/>
          </a:p>
          <a:p>
            <a:r>
              <a:rPr lang="en-US" dirty="0"/>
              <a:t>The new Action</a:t>
            </a:r>
            <a:r>
              <a:rPr lang="en-US" baseline="0" dirty="0"/>
              <a:t> Areas tool [click] </a:t>
            </a:r>
            <a:r>
              <a:rPr lang="en-US" dirty="0"/>
              <a:t>not only provides</a:t>
            </a:r>
            <a:r>
              <a:rPr lang="en-US" baseline="0" dirty="0"/>
              <a:t> current data for selected groups of students, but [click] also provides the means for you to intervene directly with a group of students right from the interactive tool panel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968F0A-81EE-414F-A942-9F58B6B0E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09306434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1" u="sng" dirty="0"/>
          </a:p>
          <a:p>
            <a:r>
              <a:rPr lang="en-US" dirty="0"/>
              <a:t>The new Action</a:t>
            </a:r>
            <a:r>
              <a:rPr lang="en-US" baseline="0" dirty="0"/>
              <a:t> Areas tool [click] </a:t>
            </a:r>
            <a:r>
              <a:rPr lang="en-US" dirty="0"/>
              <a:t>not only provides</a:t>
            </a:r>
            <a:r>
              <a:rPr lang="en-US" baseline="0" dirty="0"/>
              <a:t> current data for selected groups of students, but [click] also provides the means for you to intervene directly with a group of students right from the interactive tool panel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968F0A-81EE-414F-A942-9F58B6B0E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2121171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1" u="sng" dirty="0"/>
          </a:p>
          <a:p>
            <a:r>
              <a:rPr lang="en-US" dirty="0"/>
              <a:t>The new Action</a:t>
            </a:r>
            <a:r>
              <a:rPr lang="en-US" baseline="0" dirty="0"/>
              <a:t> Areas tool [click] </a:t>
            </a:r>
            <a:r>
              <a:rPr lang="en-US" dirty="0"/>
              <a:t>not only provides</a:t>
            </a:r>
            <a:r>
              <a:rPr lang="en-US" baseline="0" dirty="0"/>
              <a:t> current data for selected groups of students, but [click] also provides the means for you to intervene directly with a group of students right from the interactive tool panel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968F0A-81EE-414F-A942-9F58B6B0E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345551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1" u="sng" dirty="0"/>
          </a:p>
          <a:p>
            <a:r>
              <a:rPr lang="en-US" dirty="0"/>
              <a:t>The new Action</a:t>
            </a:r>
            <a:r>
              <a:rPr lang="en-US" baseline="0" dirty="0"/>
              <a:t> Areas tool [click] </a:t>
            </a:r>
            <a:r>
              <a:rPr lang="en-US" dirty="0"/>
              <a:t>not only provides</a:t>
            </a:r>
            <a:r>
              <a:rPr lang="en-US" baseline="0" dirty="0"/>
              <a:t> current data for selected groups of students, but [click] also provides the means for you to intervene directly with a group of students right from the interactive tool panel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968F0A-81EE-414F-A942-9F58B6B0E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80989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2227" name="Notes Placeholder 2"/>
          <p:cNvSpPr>
            <a:spLocks noGrp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r>
              <a:rPr lang="en-US" dirty="0"/>
              <a:t>taken from the work </a:t>
            </a:r>
            <a:r>
              <a:rPr lang="en-US" b="1" dirty="0"/>
              <a:t>of Mary Meyers </a:t>
            </a:r>
            <a:r>
              <a:rPr lang="en-US" dirty="0"/>
              <a:t>and could nicely illustrate the Years to achieve native language proficiency</a:t>
            </a:r>
          </a:p>
          <a:p>
            <a:r>
              <a:rPr lang="en-US" dirty="0"/>
              <a:t>FROM Teaching to Diversity:  Teaching and Learning in the Multi Ethnic Classroom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3E1017D-D158-4590-BC0B-CD9BB295546C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351997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1" u="sng" dirty="0"/>
          </a:p>
          <a:p>
            <a:r>
              <a:rPr lang="en-US" dirty="0"/>
              <a:t>The new Action</a:t>
            </a:r>
            <a:r>
              <a:rPr lang="en-US" baseline="0" dirty="0"/>
              <a:t> Areas tool [click] </a:t>
            </a:r>
            <a:r>
              <a:rPr lang="en-US" dirty="0"/>
              <a:t>not only provides</a:t>
            </a:r>
            <a:r>
              <a:rPr lang="en-US" baseline="0" dirty="0"/>
              <a:t> current data for selected groups of students, but [click] also provides the means for you to intervene directly with a group of students right from the interactive tool panel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968F0A-81EE-414F-A942-9F58B6B0E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0211253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0" u="none" dirty="0"/>
          </a:p>
          <a:p>
            <a:r>
              <a:rPr lang="en-US" b="0" u="none" dirty="0"/>
              <a:t>As we close out this section,</a:t>
            </a:r>
            <a:r>
              <a:rPr lang="en-US" b="0" u="none" baseline="0" dirty="0"/>
              <a:t> let’s have a little fun with our last topic – [click] Student Navigation During Sessions.</a:t>
            </a:r>
          </a:p>
          <a:p>
            <a:endParaRPr lang="en-US" b="0" u="none" baseline="0" dirty="0"/>
          </a:p>
          <a:p>
            <a:r>
              <a:rPr lang="en-US" b="0" u="none" baseline="0" dirty="0"/>
              <a:t>To take the quiz, [click] open a browser to the following </a:t>
            </a:r>
            <a:r>
              <a:rPr lang="en-US" b="0" u="none" baseline="0" dirty="0" err="1"/>
              <a:t>url</a:t>
            </a:r>
            <a:r>
              <a:rPr lang="en-US" b="0" u="none" baseline="0" dirty="0"/>
              <a:t> or [click]download the Student Clicker – </a:t>
            </a:r>
            <a:r>
              <a:rPr lang="en-US" b="0" u="none" baseline="0" dirty="0" err="1"/>
              <a:t>Socrative</a:t>
            </a:r>
            <a:r>
              <a:rPr lang="en-US" b="0" u="none" baseline="0" dirty="0"/>
              <a:t> app.</a:t>
            </a:r>
          </a:p>
          <a:p>
            <a:endParaRPr lang="en-US" b="0" u="none" baseline="0" dirty="0"/>
          </a:p>
          <a:p>
            <a:r>
              <a:rPr lang="en-US" b="0" u="none" baseline="0" dirty="0"/>
              <a:t>When you are ready, [click] type in the room number listed on the screen.</a:t>
            </a:r>
            <a:endParaRPr lang="en-US" b="0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F2E06-095A-4DCF-8FBB-C3386AA5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15346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B4C1A5-EB5A-4C12-A9A0-B55A3AC298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951385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7B4C1A5-EB5A-4C12-A9A0-B55A3AC298A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53936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1" u="sng" dirty="0"/>
          </a:p>
          <a:p>
            <a:r>
              <a:rPr lang="en-US" dirty="0"/>
              <a:t>The new Action</a:t>
            </a:r>
            <a:r>
              <a:rPr lang="en-US" baseline="0" dirty="0"/>
              <a:t> Areas tool [click] </a:t>
            </a:r>
            <a:r>
              <a:rPr lang="en-US" dirty="0"/>
              <a:t>not only provides</a:t>
            </a:r>
            <a:r>
              <a:rPr lang="en-US" baseline="0" dirty="0"/>
              <a:t> current data for selected groups of students, but [click] also provides the means for you to intervene directly with a group of students right from the interactive tool panel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968F0A-81EE-414F-A942-9F58B6B0E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32415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1" u="sng" dirty="0"/>
          </a:p>
          <a:p>
            <a:r>
              <a:rPr lang="en-US" dirty="0"/>
              <a:t>The new Action</a:t>
            </a:r>
            <a:r>
              <a:rPr lang="en-US" baseline="0" dirty="0"/>
              <a:t> Areas tool [click] </a:t>
            </a:r>
            <a:r>
              <a:rPr lang="en-US" dirty="0"/>
              <a:t>not only provides</a:t>
            </a:r>
            <a:r>
              <a:rPr lang="en-US" baseline="0" dirty="0"/>
              <a:t> current data for selected groups of students, but [click] also provides the means for you to intervene directly with a group of students right from the interactive tool panel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968F0A-81EE-414F-A942-9F58B6B0E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696564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1" u="sng" dirty="0"/>
          </a:p>
          <a:p>
            <a:r>
              <a:rPr lang="en-US" dirty="0"/>
              <a:t>The new Action</a:t>
            </a:r>
            <a:r>
              <a:rPr lang="en-US" baseline="0" dirty="0"/>
              <a:t> Areas tool [click] </a:t>
            </a:r>
            <a:r>
              <a:rPr lang="en-US" dirty="0"/>
              <a:t>not only provides</a:t>
            </a:r>
            <a:r>
              <a:rPr lang="en-US" baseline="0" dirty="0"/>
              <a:t> current data for selected groups of students, but [click] also provides the means for you to intervene directly with a group of students right from the interactive tool panel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968F0A-81EE-414F-A942-9F58B6B0E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352011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1" u="sng" dirty="0"/>
          </a:p>
          <a:p>
            <a:r>
              <a:rPr lang="en-US" dirty="0"/>
              <a:t>The new Action</a:t>
            </a:r>
            <a:r>
              <a:rPr lang="en-US" baseline="0" dirty="0"/>
              <a:t> Areas tool [click] </a:t>
            </a:r>
            <a:r>
              <a:rPr lang="en-US" dirty="0"/>
              <a:t>not only provides</a:t>
            </a:r>
            <a:r>
              <a:rPr lang="en-US" baseline="0" dirty="0"/>
              <a:t> current data for selected groups of students, but [click] also provides the means for you to intervene directly with a group of students right from the interactive tool panel.</a:t>
            </a:r>
          </a:p>
          <a:p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8968F0A-81EE-414F-A942-9F58B6B0EC1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6786659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u="sng" dirty="0"/>
              <a:t>Sample verbiage:</a:t>
            </a:r>
          </a:p>
          <a:p>
            <a:endParaRPr lang="en-US" b="0" u="none" dirty="0"/>
          </a:p>
          <a:p>
            <a:r>
              <a:rPr lang="en-US" b="0" u="none" dirty="0"/>
              <a:t>As we close out this section,</a:t>
            </a:r>
            <a:r>
              <a:rPr lang="en-US" b="0" u="none" baseline="0" dirty="0"/>
              <a:t> let’s have a little fun with our last topic – [click] Student Navigation During Sessions.</a:t>
            </a:r>
          </a:p>
          <a:p>
            <a:endParaRPr lang="en-US" b="0" u="none" baseline="0" dirty="0"/>
          </a:p>
          <a:p>
            <a:r>
              <a:rPr lang="en-US" b="0" u="none" baseline="0" dirty="0"/>
              <a:t>To take the quiz, [click] open </a:t>
            </a:r>
            <a:r>
              <a:rPr lang="en-US" b="0" u="none" baseline="0" dirty="0" err="1"/>
              <a:t>wa</a:t>
            </a:r>
            <a:r>
              <a:rPr lang="en-US" b="0" u="none" baseline="0" dirty="0"/>
              <a:t> browser to the following </a:t>
            </a:r>
            <a:r>
              <a:rPr lang="en-US" b="0" u="none" baseline="0" dirty="0" err="1"/>
              <a:t>url</a:t>
            </a:r>
            <a:r>
              <a:rPr lang="en-US" b="0" u="none" baseline="0" dirty="0"/>
              <a:t> or [click]download the Student Clicker – </a:t>
            </a:r>
            <a:r>
              <a:rPr lang="en-US" b="0" u="none" baseline="0" dirty="0" err="1"/>
              <a:t>Socrative</a:t>
            </a:r>
            <a:r>
              <a:rPr lang="en-US" b="0" u="none" baseline="0" dirty="0"/>
              <a:t> app.</a:t>
            </a:r>
          </a:p>
          <a:p>
            <a:endParaRPr lang="en-US" b="0" u="none" baseline="0" dirty="0"/>
          </a:p>
          <a:p>
            <a:r>
              <a:rPr lang="en-US" b="0" u="none" baseline="0" dirty="0"/>
              <a:t>When you are ready, [click] type in the room number listed on the screen.</a:t>
            </a:r>
            <a:endParaRPr lang="en-US" b="0" u="non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18F2E06-095A-4DCF-8FBB-C3386AA523B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000900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emf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emf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emf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emf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emf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emf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emf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Relationship Id="rId2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/>
              <a:t>12/10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78637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/>
              <a:t>12/10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45908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/>
              <a:t>12/10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12491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327D96E-92EE-4D30-885F-5C0E713FD47E}" type="datetimeFigureOut">
              <a:rPr lang="en-US"/>
              <a:pPr>
                <a:defRPr/>
              </a:pPr>
              <a:t>12/10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EEACFD1-D550-4FBD-9E2F-EF2697C64B0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727862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BEEE534-3838-4D77-9FD8-9FBCC2650E79}" type="datetimeFigureOut">
              <a:rPr lang="en-US"/>
              <a:pPr>
                <a:defRPr/>
              </a:pPr>
              <a:t>12/10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644F014-58CD-4962-869E-E4F9D1DE784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2193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3270555-97BB-4CF4-8B43-654FB48350FC}" type="datetimeFigureOut">
              <a:rPr lang="en-US"/>
              <a:pPr>
                <a:defRPr/>
              </a:pPr>
              <a:t>12/10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3C774E1-1302-4316-A204-4C82AF21AD8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9006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7671637-3546-4C85-AEDC-F3815276A131}" type="datetimeFigureOut">
              <a:rPr lang="en-US"/>
              <a:pPr>
                <a:defRPr/>
              </a:pPr>
              <a:t>12/10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0683672-14DC-45E0-AB92-CC05CA366A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91281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DCB9F97-6F06-4552-8449-926874E1F7F6}" type="datetimeFigureOut">
              <a:rPr lang="en-US"/>
              <a:pPr>
                <a:defRPr/>
              </a:pPr>
              <a:t>12/10/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E8F4228-B15B-4D0B-B4F4-CBC5C779F1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58458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0F5F922-FFD5-4099-887B-3843249EDA4E}" type="datetimeFigureOut">
              <a:rPr lang="en-US"/>
              <a:pPr>
                <a:defRPr/>
              </a:pPr>
              <a:t>12/10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130F479C-FC9E-48B9-B1D2-5C517DA7B5E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00337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8CD7911B-5096-4CFF-AB4C-2C4AE70143D7}" type="datetimeFigureOut">
              <a:rPr lang="en-US"/>
              <a:pPr>
                <a:defRPr/>
              </a:pPr>
              <a:t>12/10/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0E9DE1BE-050C-457E-9401-5A99E5308C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837238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B030341-ACBE-4F60-960D-3355EA053647}" type="datetimeFigureOut">
              <a:rPr lang="en-US"/>
              <a:pPr>
                <a:defRPr/>
              </a:pPr>
              <a:t>12/10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4E2D798-C52E-4627-94D3-E6DBDA5ABE8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12177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/>
              <a:t>12/10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0682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431BB60-0437-47BA-9509-32D1BA499078}" type="datetimeFigureOut">
              <a:rPr lang="en-US"/>
              <a:pPr>
                <a:defRPr/>
              </a:pPr>
              <a:t>12/10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3A33C7F5-B6E7-4176-BF01-EB117573C31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20644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C76A5DCA-38DE-42E4-8652-EF78D8E7B77C}" type="datetimeFigureOut">
              <a:rPr lang="en-US"/>
              <a:pPr>
                <a:defRPr/>
              </a:pPr>
              <a:t>12/10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83D703A-4E38-4FE2-BDBE-8895A37890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91170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72BDDB97-D98E-40EF-B8C1-62A2D1F0A875}" type="datetimeFigureOut">
              <a:rPr lang="en-US"/>
              <a:pPr>
                <a:defRPr/>
              </a:pPr>
              <a:t>12/10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9F35FAFD-BC1F-4351-AA51-FAB25895321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775185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28403" y="945913"/>
            <a:ext cx="8637073" cy="2618554"/>
          </a:xfrm>
        </p:spPr>
        <p:txBody>
          <a:bodyPr bIns="0" anchor="b">
            <a:normAutofit/>
          </a:bodyPr>
          <a:lstStyle>
            <a:lvl1pPr algn="l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8404" y="3564467"/>
            <a:ext cx="8637072" cy="1071095"/>
          </a:xfrm>
        </p:spPr>
        <p:txBody>
          <a:bodyPr tIns="91440" bIns="91440">
            <a:normAutofit/>
          </a:bodyPr>
          <a:lstStyle>
            <a:lvl1pPr marL="0" indent="0" algn="l">
              <a:buNone/>
              <a:defRPr sz="18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18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127124" y="329307"/>
            <a:ext cx="5943668" cy="309201"/>
          </a:xfr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924392" y="134930"/>
            <a:ext cx="811019" cy="503578"/>
          </a:xfrm>
        </p:spPr>
        <p:txBody>
          <a:bodyPr/>
          <a:lstStyle/>
          <a:p>
            <a:fld id="{8E2327B3-052D-4399-B9AD-E5AF868FB0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6" name="Picture 15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066883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200"/>
            </a:lvl1pPr>
          </a:lstStyle>
          <a:p>
            <a:fld id="{4FBB4006-D3B1-49A6-8F9B-8A33E32C08D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200"/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4" name="Picture 23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0864346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9167" y="1756129"/>
            <a:ext cx="8619060" cy="2050065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1129166" y="3806195"/>
            <a:ext cx="8619060" cy="1012929"/>
          </a:xfrm>
        </p:spPr>
        <p:txBody>
          <a:bodyPr tIns="91440"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6" name="Picture 15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802640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31052" y="958037"/>
            <a:ext cx="9605635" cy="105930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129166" y="2165621"/>
            <a:ext cx="4645152" cy="3293852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5606" y="2171769"/>
            <a:ext cx="4645152" cy="328709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6" name="Picture 15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52530366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9166" y="953336"/>
            <a:ext cx="9607661" cy="105631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29166" y="2169727"/>
            <a:ext cx="4645152" cy="801943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0" cap="none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129166" y="2974448"/>
            <a:ext cx="4645152" cy="2493876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94337" y="2173181"/>
            <a:ext cx="4645152" cy="802237"/>
          </a:xfr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0" cap="none" baseline="0">
                <a:solidFill>
                  <a:schemeClr val="accent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94337" y="2971669"/>
            <a:ext cx="4645152" cy="248719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8" name="Picture 17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7204233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4" name="Picture 13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8661760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0846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/>
              <a:t>12/10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2623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4291" y="952578"/>
            <a:ext cx="3275013" cy="2322176"/>
          </a:xfrm>
        </p:spPr>
        <p:txBody>
          <a:bodyPr anchor="b">
            <a:normAutofit/>
          </a:bodyPr>
          <a:lstStyle>
            <a:lvl1pPr algn="l">
              <a:defRPr sz="2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23334" y="952578"/>
            <a:ext cx="6012470" cy="4505221"/>
          </a:xfrm>
        </p:spPr>
        <p:txBody>
          <a:bodyPr anchor="ctr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4291" y="3274754"/>
            <a:ext cx="3275013" cy="2178918"/>
          </a:xfrm>
        </p:spPr>
        <p:txBody>
          <a:bodyPr/>
          <a:lstStyle>
            <a:lvl1pPr marL="0" indent="0" algn="l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6" name="Picture 15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29450141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7477387" y="482170"/>
            <a:ext cx="4074533" cy="5149101"/>
            <a:chOff x="7477387" y="482170"/>
            <a:chExt cx="4074533" cy="5149101"/>
          </a:xfrm>
        </p:grpSpPr>
        <p:sp>
          <p:nvSpPr>
            <p:cNvPr id="18" name="Rectangle 17"/>
            <p:cNvSpPr/>
            <p:nvPr/>
          </p:nvSpPr>
          <p:spPr>
            <a:xfrm>
              <a:off x="7477387" y="482170"/>
              <a:ext cx="4074533" cy="5149101"/>
            </a:xfrm>
            <a:prstGeom prst="rect">
              <a:avLst/>
            </a:prstGeom>
            <a:gradFill>
              <a:gsLst>
                <a:gs pos="0">
                  <a:schemeClr val="tx1">
                    <a:lumMod val="85000"/>
                    <a:lumOff val="15000"/>
                  </a:schemeClr>
                </a:gs>
                <a:gs pos="100000">
                  <a:schemeClr val="tx1">
                    <a:lumMod val="95000"/>
                    <a:lumOff val="5000"/>
                  </a:schemeClr>
                </a:gs>
              </a:gsLst>
            </a:gradFill>
            <a:ln w="76200" cmpd="sng">
              <a:noFill/>
              <a:miter lim="800000"/>
            </a:ln>
            <a:effectLst>
              <a:outerShdw blurRad="127000" dist="228600" dir="4740000" sx="98000" sy="98000" algn="tl" rotWithShape="0">
                <a:srgbClr val="000000">
                  <a:alpha val="34000"/>
                </a:srgbClr>
              </a:outerShdw>
            </a:effectLst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Rectangle 18"/>
            <p:cNvSpPr/>
            <p:nvPr/>
          </p:nvSpPr>
          <p:spPr>
            <a:xfrm>
              <a:off x="7790446" y="812506"/>
              <a:ext cx="3450289" cy="4466452"/>
            </a:xfrm>
            <a:prstGeom prst="rect">
              <a:avLst/>
            </a:prstGeom>
            <a:gradFill>
              <a:gsLst>
                <a:gs pos="0">
                  <a:srgbClr val="DADADA"/>
                </a:gs>
                <a:gs pos="100000">
                  <a:srgbClr val="FFFFFE"/>
                </a:gs>
              </a:gsLst>
              <a:lin ang="16200000" scaled="0"/>
            </a:gradFill>
            <a:ln w="50800" cmpd="sng">
              <a:solidFill>
                <a:srgbClr val="191919"/>
              </a:solidFill>
              <a:miter lim="800000"/>
            </a:ln>
            <a:effectLst>
              <a:innerShdw blurRad="63500" dist="88900" dir="14100000">
                <a:srgbClr val="000000">
                  <a:alpha val="30000"/>
                </a:srgbClr>
              </a:innerShdw>
            </a:effectLst>
            <a:scene3d>
              <a:camera prst="orthographicFront"/>
              <a:lightRig rig="threePt" dir="t"/>
            </a:scene3d>
            <a:sp3d>
              <a:bevelT prst="relaxedInset"/>
            </a:sp3d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9124" y="1129513"/>
            <a:ext cx="5854872" cy="1924208"/>
          </a:xfrm>
        </p:spPr>
        <p:txBody>
          <a:bodyPr anchor="b">
            <a:normAutofit/>
          </a:bodyPr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8124389" y="1122542"/>
            <a:ext cx="2791171" cy="3866327"/>
          </a:xfrm>
          <a:solidFill>
            <a:schemeClr val="bg1">
              <a:lumMod val="85000"/>
            </a:schemeClr>
          </a:solidFill>
          <a:ln w="9525" cap="sq">
            <a:noFill/>
            <a:miter lim="800000"/>
          </a:ln>
          <a:effectLst/>
        </p:spPr>
        <p:txBody>
          <a:bodyPr anchor="t"/>
          <a:lstStyle>
            <a:lvl1pPr marL="0" indent="0" algn="ctr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28247" y="3053721"/>
            <a:ext cx="5846486" cy="2096013"/>
          </a:xfrm>
        </p:spPr>
        <p:txBody>
          <a:bodyPr>
            <a:normAutofit/>
          </a:bodyPr>
          <a:lstStyle>
            <a:lvl1pPr marL="0" indent="0" algn="l"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1125300" y="5469856"/>
            <a:ext cx="5849605" cy="320123"/>
          </a:xfrm>
        </p:spPr>
        <p:txBody>
          <a:bodyPr/>
          <a:lstStyle>
            <a:lvl1pPr algn="l">
              <a:defRPr/>
            </a:lvl1pPr>
          </a:lstStyle>
          <a:p>
            <a:fld id="{4FBB4006-D3B1-49A6-8F9B-8A33E32C08D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1125300" y="318640"/>
            <a:ext cx="4877818" cy="320931"/>
          </a:xfr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176794" y="137408"/>
            <a:ext cx="811019" cy="503578"/>
          </a:xfrm>
        </p:spPr>
        <p:txBody>
          <a:bodyPr/>
          <a:lstStyle/>
          <a:p>
            <a:fld id="{8E2327B3-052D-4399-B9AD-E5AF868FB0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22" name="Picture 21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6" t="474" r="48549" b="36564"/>
          <a:stretch/>
        </p:blipFill>
        <p:spPr>
          <a:xfrm>
            <a:off x="1125460" y="643464"/>
            <a:ext cx="5879592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9927928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5" name="Picture 14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15828" b="36435"/>
          <a:stretch/>
        </p:blipFill>
        <p:spPr>
          <a:xfrm>
            <a:off x="1125460" y="643464"/>
            <a:ext cx="9610344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8447856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124709" y="798973"/>
            <a:ext cx="1615742" cy="4659889"/>
          </a:xfrm>
        </p:spPr>
        <p:txBody>
          <a:bodyPr vert="eaVert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1130270" y="798973"/>
            <a:ext cx="7828830" cy="4659889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2/10/17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pic>
        <p:nvPicPr>
          <p:cNvPr id="17" name="Picture 16" descr="RedHashing.emf"/>
          <p:cNvPicPr>
            <a:picLocks/>
          </p:cNvPicPr>
          <p:nvPr/>
        </p:nvPicPr>
        <p:blipFill rotWithShape="1">
          <a:blip r:embed="rId2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15" r="59215" b="36435"/>
          <a:stretch/>
        </p:blipFill>
        <p:spPr>
          <a:xfrm rot="5400000">
            <a:off x="8642279" y="3046916"/>
            <a:ext cx="4663440" cy="15544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521178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/>
              <a:t>12/10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490139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/>
              <a:t>12/10/17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44311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/>
              <a:t>12/10/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43676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/>
              <a:t>12/10/17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482582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/>
              <a:t>12/10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14299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B4006-D3B1-49A6-8F9B-8A33E32C08D6}" type="datetimeFigureOut">
              <a:rPr lang="en-US" smtClean="0"/>
              <a:t>12/10/17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E2327B3-052D-4399-B9AD-E5AF868FB0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87703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_rels/slideMaster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22.xml"/><Relationship Id="rId1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0.xml"/><Relationship Id="rId10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33.xml"/><Relationship Id="rId12" Type="http://schemas.openxmlformats.org/officeDocument/2006/relationships/theme" Target="../theme/theme3.xml"/><Relationship Id="rId13" Type="http://schemas.openxmlformats.org/officeDocument/2006/relationships/image" Target="../media/image1.jpg"/><Relationship Id="rId1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4.xml"/><Relationship Id="rId3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7.xml"/><Relationship Id="rId6" Type="http://schemas.openxmlformats.org/officeDocument/2006/relationships/slideLayout" Target="../slideLayouts/slideLayout28.xml"/><Relationship Id="rId7" Type="http://schemas.openxmlformats.org/officeDocument/2006/relationships/slideLayout" Target="../slideLayouts/slideLayout29.xml"/><Relationship Id="rId8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BB4006-D3B1-49A6-8F9B-8A33E32C08D6}" type="datetimeFigureOut">
              <a:rPr lang="en-US" smtClean="0"/>
              <a:t>12/10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2327B3-052D-4399-B9AD-E5AF868FB0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9176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Placeholder 1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09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80C22A41-3966-4BC5-95A3-6FD9935B7043}" type="datetimeFigureOut">
              <a:rPr lang="en-US"/>
              <a:pPr>
                <a:defRPr/>
              </a:pPr>
              <a:t>12/10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defRPr>
            </a:lvl1pPr>
          </a:lstStyle>
          <a:p>
            <a:pPr>
              <a:defRPr/>
            </a:pPr>
            <a:fld id="{CFD40451-A841-4079-AF5A-52ED79B19D2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1357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38" b="-1538"/>
          <a:stretch/>
        </p:blipFill>
        <p:spPr>
          <a:xfrm>
            <a:off x="0" y="6119336"/>
            <a:ext cx="12192000" cy="742950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>
          <a:xfrm>
            <a:off x="0" y="468769"/>
            <a:ext cx="12192000" cy="5647024"/>
          </a:xfrm>
          <a:prstGeom prst="rect">
            <a:avLst/>
          </a:prstGeom>
          <a:gradFill flip="none" rotWithShape="1">
            <a:gsLst>
              <a:gs pos="0">
                <a:schemeClr val="bg2">
                  <a:alpha val="0"/>
                  <a:lumMod val="100000"/>
                </a:schemeClr>
              </a:gs>
              <a:gs pos="100000">
                <a:schemeClr val="bg2">
                  <a:lumMod val="95000"/>
                  <a:lumOff val="500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14" name="Straight Connector 13"/>
          <p:cNvCxnSpPr/>
          <p:nvPr/>
        </p:nvCxnSpPr>
        <p:spPr>
          <a:xfrm>
            <a:off x="0" y="6121269"/>
            <a:ext cx="12192000" cy="0"/>
          </a:xfrm>
          <a:prstGeom prst="line">
            <a:avLst/>
          </a:prstGeom>
          <a:ln w="12700">
            <a:solidFill>
              <a:srgbClr val="000001">
                <a:alpha val="2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130270" y="953324"/>
            <a:ext cx="9603275" cy="1049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30270" y="2171769"/>
            <a:ext cx="9603275" cy="32945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32830" y="330370"/>
            <a:ext cx="251539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FBB4006-D3B1-49A6-8F9B-8A33E32C08D6}" type="datetimeFigureOut">
              <a:rPr lang="en-US" smtClean="0"/>
              <a:t>12/10/17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130270" y="329307"/>
            <a:ext cx="5938836" cy="3092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18076" y="137408"/>
            <a:ext cx="811019" cy="503578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2800">
                <a:solidFill>
                  <a:schemeClr val="accent1"/>
                </a:solidFill>
              </a:defRPr>
            </a:lvl1pPr>
          </a:lstStyle>
          <a:p>
            <a:fld id="{8E2327B3-052D-4399-B9AD-E5AF868FB0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0144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10" r:id="rId2"/>
    <p:sldLayoutId id="2147483711" r:id="rId3"/>
    <p:sldLayoutId id="2147483712" r:id="rId4"/>
    <p:sldLayoutId id="2147483713" r:id="rId5"/>
    <p:sldLayoutId id="2147483714" r:id="rId6"/>
    <p:sldLayoutId id="2147483715" r:id="rId7"/>
    <p:sldLayoutId id="2147483716" r:id="rId8"/>
    <p:sldLayoutId id="2147483717" r:id="rId9"/>
    <p:sldLayoutId id="2147483718" r:id="rId10"/>
    <p:sldLayoutId id="214748371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0" i="0" kern="1200" cap="none">
          <a:solidFill>
            <a:schemeClr val="tx1"/>
          </a:solidFill>
          <a:effectLst/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20000"/>
        </a:lnSpc>
        <a:spcBef>
          <a:spcPts val="10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2000" kern="1200">
          <a:solidFill>
            <a:schemeClr val="tx1"/>
          </a:solidFill>
          <a:effectLst/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8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600" kern="1200"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400" kern="1200" cap="none" baseline="0">
          <a:solidFill>
            <a:schemeClr val="tx1"/>
          </a:solidFill>
          <a:effectLst/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>
          <a:solidFill>
            <a:schemeClr val="tx1"/>
          </a:solidFill>
          <a:effectLst/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120000"/>
        </a:lnSpc>
        <a:spcBef>
          <a:spcPts val="500"/>
        </a:spcBef>
        <a:buClr>
          <a:schemeClr val="accent1"/>
        </a:buClr>
        <a:buSzPct val="100000"/>
        <a:buFont typeface="Arial" panose="020B0604020202020204" pitchFamily="34" charset="0"/>
        <a:buChar char="•"/>
        <a:defRPr sz="1200" kern="1200" baseline="0">
          <a:solidFill>
            <a:schemeClr val="tx1"/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1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jpeg"/><Relationship Id="rId12" Type="http://schemas.openxmlformats.org/officeDocument/2006/relationships/image" Target="../media/image17.png"/><Relationship Id="rId13" Type="http://schemas.openxmlformats.org/officeDocument/2006/relationships/image" Target="../media/image18.jpeg"/><Relationship Id="rId1" Type="http://schemas.openxmlformats.org/officeDocument/2006/relationships/tags" Target="../tags/tag8.xml"/><Relationship Id="rId2" Type="http://schemas.openxmlformats.org/officeDocument/2006/relationships/slideLayout" Target="../slideLayouts/slideLayout7.xml"/><Relationship Id="rId3" Type="http://schemas.openxmlformats.org/officeDocument/2006/relationships/notesSlide" Target="../notesSlides/notesSlide8.xml"/><Relationship Id="rId4" Type="http://schemas.openxmlformats.org/officeDocument/2006/relationships/image" Target="../media/image10.jp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9.png"/><Relationship Id="rId8" Type="http://schemas.openxmlformats.org/officeDocument/2006/relationships/image" Target="../media/image13.png"/><Relationship Id="rId9" Type="http://schemas.openxmlformats.org/officeDocument/2006/relationships/image" Target="../media/image14.jpeg"/><Relationship Id="rId10" Type="http://schemas.openxmlformats.org/officeDocument/2006/relationships/image" Target="../media/image15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4" Type="http://schemas.openxmlformats.org/officeDocument/2006/relationships/image" Target="../media/image3.png"/><Relationship Id="rId5" Type="http://schemas.openxmlformats.org/officeDocument/2006/relationships/image" Target="../media/image4.png"/><Relationship Id="rId6" Type="http://schemas.openxmlformats.org/officeDocument/2006/relationships/comments" Target="../comments/comment2.xml"/><Relationship Id="rId1" Type="http://schemas.openxmlformats.org/officeDocument/2006/relationships/tags" Target="../tags/tag9.xml"/><Relationship Id="rId2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jpeg"/><Relationship Id="rId12" Type="http://schemas.openxmlformats.org/officeDocument/2006/relationships/image" Target="../media/image17.png"/><Relationship Id="rId13" Type="http://schemas.openxmlformats.org/officeDocument/2006/relationships/image" Target="../media/image18.jpeg"/><Relationship Id="rId1" Type="http://schemas.openxmlformats.org/officeDocument/2006/relationships/tags" Target="../tags/tag10.xml"/><Relationship Id="rId2" Type="http://schemas.openxmlformats.org/officeDocument/2006/relationships/slideLayout" Target="../slideLayouts/slideLayout7.xml"/><Relationship Id="rId3" Type="http://schemas.openxmlformats.org/officeDocument/2006/relationships/notesSlide" Target="../notesSlides/notesSlide10.xml"/><Relationship Id="rId4" Type="http://schemas.openxmlformats.org/officeDocument/2006/relationships/image" Target="../media/image10.jp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9.png"/><Relationship Id="rId8" Type="http://schemas.openxmlformats.org/officeDocument/2006/relationships/image" Target="../media/image13.png"/><Relationship Id="rId9" Type="http://schemas.openxmlformats.org/officeDocument/2006/relationships/image" Target="../media/image14.jpeg"/><Relationship Id="rId10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jpeg"/><Relationship Id="rId12" Type="http://schemas.openxmlformats.org/officeDocument/2006/relationships/image" Target="../media/image17.png"/><Relationship Id="rId13" Type="http://schemas.openxmlformats.org/officeDocument/2006/relationships/image" Target="../media/image18.jpeg"/><Relationship Id="rId1" Type="http://schemas.openxmlformats.org/officeDocument/2006/relationships/tags" Target="../tags/tag11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11.xml"/><Relationship Id="rId4" Type="http://schemas.openxmlformats.org/officeDocument/2006/relationships/image" Target="../media/image10.jp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9.png"/><Relationship Id="rId8" Type="http://schemas.openxmlformats.org/officeDocument/2006/relationships/image" Target="../media/image13.png"/><Relationship Id="rId9" Type="http://schemas.openxmlformats.org/officeDocument/2006/relationships/image" Target="../media/image14.jpeg"/><Relationship Id="rId10" Type="http://schemas.openxmlformats.org/officeDocument/2006/relationships/image" Target="../media/image15.png"/></Relationships>
</file>

<file path=ppt/slides/_rels/slide1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jpeg"/><Relationship Id="rId12" Type="http://schemas.openxmlformats.org/officeDocument/2006/relationships/image" Target="../media/image17.png"/><Relationship Id="rId13" Type="http://schemas.openxmlformats.org/officeDocument/2006/relationships/image" Target="../media/image18.jpeg"/><Relationship Id="rId1" Type="http://schemas.openxmlformats.org/officeDocument/2006/relationships/tags" Target="../tags/tag12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12.xml"/><Relationship Id="rId4" Type="http://schemas.openxmlformats.org/officeDocument/2006/relationships/image" Target="../media/image10.jp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9.png"/><Relationship Id="rId8" Type="http://schemas.openxmlformats.org/officeDocument/2006/relationships/image" Target="../media/image13.png"/><Relationship Id="rId9" Type="http://schemas.openxmlformats.org/officeDocument/2006/relationships/image" Target="../media/image14.jpeg"/><Relationship Id="rId10" Type="http://schemas.openxmlformats.org/officeDocument/2006/relationships/image" Target="../media/image15.png"/></Relationships>
</file>

<file path=ppt/slides/_rels/slide1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jpeg"/><Relationship Id="rId12" Type="http://schemas.openxmlformats.org/officeDocument/2006/relationships/image" Target="../media/image17.png"/><Relationship Id="rId13" Type="http://schemas.openxmlformats.org/officeDocument/2006/relationships/image" Target="../media/image18.jpeg"/><Relationship Id="rId1" Type="http://schemas.openxmlformats.org/officeDocument/2006/relationships/tags" Target="../tags/tag13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13.xml"/><Relationship Id="rId4" Type="http://schemas.openxmlformats.org/officeDocument/2006/relationships/image" Target="../media/image10.jp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9.png"/><Relationship Id="rId8" Type="http://schemas.openxmlformats.org/officeDocument/2006/relationships/image" Target="../media/image13.png"/><Relationship Id="rId9" Type="http://schemas.openxmlformats.org/officeDocument/2006/relationships/image" Target="../media/image14.jpeg"/><Relationship Id="rId10" Type="http://schemas.openxmlformats.org/officeDocument/2006/relationships/image" Target="../media/image15.png"/></Relationships>
</file>

<file path=ppt/slides/_rels/slide1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jpeg"/><Relationship Id="rId12" Type="http://schemas.openxmlformats.org/officeDocument/2006/relationships/image" Target="../media/image17.png"/><Relationship Id="rId13" Type="http://schemas.openxmlformats.org/officeDocument/2006/relationships/image" Target="../media/image18.jpeg"/><Relationship Id="rId1" Type="http://schemas.openxmlformats.org/officeDocument/2006/relationships/tags" Target="../tags/tag14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14.xml"/><Relationship Id="rId4" Type="http://schemas.openxmlformats.org/officeDocument/2006/relationships/image" Target="../media/image10.jp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9.png"/><Relationship Id="rId8" Type="http://schemas.openxmlformats.org/officeDocument/2006/relationships/image" Target="../media/image13.png"/><Relationship Id="rId9" Type="http://schemas.openxmlformats.org/officeDocument/2006/relationships/image" Target="../media/image14.jpeg"/><Relationship Id="rId10" Type="http://schemas.openxmlformats.org/officeDocument/2006/relationships/image" Target="../media/image1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4" Type="http://schemas.openxmlformats.org/officeDocument/2006/relationships/image" Target="../media/image3.png"/><Relationship Id="rId5" Type="http://schemas.openxmlformats.org/officeDocument/2006/relationships/image" Target="../media/image4.png"/><Relationship Id="rId6" Type="http://schemas.openxmlformats.org/officeDocument/2006/relationships/comments" Target="../comments/comment3.xml"/><Relationship Id="rId1" Type="http://schemas.openxmlformats.org/officeDocument/2006/relationships/tags" Target="../tags/tag15.xml"/><Relationship Id="rId2" Type="http://schemas.openxmlformats.org/officeDocument/2006/relationships/slideLayout" Target="../slideLayouts/slideLayout2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4" Type="http://schemas.openxmlformats.org/officeDocument/2006/relationships/image" Target="../media/image3.png"/><Relationship Id="rId5" Type="http://schemas.openxmlformats.org/officeDocument/2006/relationships/image" Target="../media/image4.png"/><Relationship Id="rId6" Type="http://schemas.openxmlformats.org/officeDocument/2006/relationships/comments" Target="../comments/comment4.xml"/><Relationship Id="rId1" Type="http://schemas.openxmlformats.org/officeDocument/2006/relationships/tags" Target="../tags/tag16.xml"/><Relationship Id="rId2" Type="http://schemas.openxmlformats.org/officeDocument/2006/relationships/slideLayout" Target="../slideLayouts/slideLayout2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4" Type="http://schemas.openxmlformats.org/officeDocument/2006/relationships/image" Target="../media/image3.png"/><Relationship Id="rId5" Type="http://schemas.openxmlformats.org/officeDocument/2006/relationships/image" Target="../media/image4.png"/><Relationship Id="rId6" Type="http://schemas.openxmlformats.org/officeDocument/2006/relationships/comments" Target="../comments/comment5.xml"/><Relationship Id="rId1" Type="http://schemas.openxmlformats.org/officeDocument/2006/relationships/tags" Target="../tags/tag17.xml"/><Relationship Id="rId2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4" Type="http://schemas.openxmlformats.org/officeDocument/2006/relationships/image" Target="../media/image3.png"/><Relationship Id="rId5" Type="http://schemas.openxmlformats.org/officeDocument/2006/relationships/image" Target="../media/image4.png"/><Relationship Id="rId6" Type="http://schemas.openxmlformats.org/officeDocument/2006/relationships/comments" Target="../comments/comment1.xml"/><Relationship Id="rId1" Type="http://schemas.openxmlformats.org/officeDocument/2006/relationships/tags" Target="../tags/tag1.xml"/><Relationship Id="rId2" Type="http://schemas.openxmlformats.org/officeDocument/2006/relationships/slideLayout" Target="../slideLayouts/slideLayout29.xml"/></Relationships>
</file>

<file path=ppt/slides/_rels/slide20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jpeg"/><Relationship Id="rId12" Type="http://schemas.openxmlformats.org/officeDocument/2006/relationships/image" Target="../media/image17.png"/><Relationship Id="rId13" Type="http://schemas.openxmlformats.org/officeDocument/2006/relationships/image" Target="../media/image18.jpeg"/><Relationship Id="rId1" Type="http://schemas.openxmlformats.org/officeDocument/2006/relationships/tags" Target="../tags/tag18.xml"/><Relationship Id="rId2" Type="http://schemas.openxmlformats.org/officeDocument/2006/relationships/slideLayout" Target="../slideLayouts/slideLayout7.xml"/><Relationship Id="rId3" Type="http://schemas.openxmlformats.org/officeDocument/2006/relationships/notesSlide" Target="../notesSlides/notesSlide18.xml"/><Relationship Id="rId4" Type="http://schemas.openxmlformats.org/officeDocument/2006/relationships/image" Target="../media/image10.jp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9.png"/><Relationship Id="rId8" Type="http://schemas.openxmlformats.org/officeDocument/2006/relationships/image" Target="../media/image13.png"/><Relationship Id="rId9" Type="http://schemas.openxmlformats.org/officeDocument/2006/relationships/image" Target="../media/image14.jpeg"/><Relationship Id="rId10" Type="http://schemas.openxmlformats.org/officeDocument/2006/relationships/image" Target="../media/image15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4" Type="http://schemas.openxmlformats.org/officeDocument/2006/relationships/image" Target="../media/image21.jpeg"/><Relationship Id="rId5" Type="http://schemas.openxmlformats.org/officeDocument/2006/relationships/image" Target="../media/image22.jpeg"/><Relationship Id="rId1" Type="http://schemas.openxmlformats.org/officeDocument/2006/relationships/tags" Target="../tags/tag19.xml"/><Relationship Id="rId2" Type="http://schemas.openxmlformats.org/officeDocument/2006/relationships/slideLayout" Target="../slideLayouts/slideLayout29.xml"/></Relationships>
</file>

<file path=ppt/slides/_rels/slide22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jpeg"/><Relationship Id="rId12" Type="http://schemas.openxmlformats.org/officeDocument/2006/relationships/image" Target="../media/image17.png"/><Relationship Id="rId13" Type="http://schemas.openxmlformats.org/officeDocument/2006/relationships/image" Target="../media/image18.jpeg"/><Relationship Id="rId1" Type="http://schemas.openxmlformats.org/officeDocument/2006/relationships/tags" Target="../tags/tag20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20.xml"/><Relationship Id="rId4" Type="http://schemas.openxmlformats.org/officeDocument/2006/relationships/image" Target="../media/image10.jp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9.png"/><Relationship Id="rId8" Type="http://schemas.openxmlformats.org/officeDocument/2006/relationships/image" Target="../media/image13.png"/><Relationship Id="rId9" Type="http://schemas.openxmlformats.org/officeDocument/2006/relationships/image" Target="../media/image14.jpeg"/><Relationship Id="rId10" Type="http://schemas.openxmlformats.org/officeDocument/2006/relationships/image" Target="../media/image15.png"/></Relationships>
</file>

<file path=ppt/slides/_rels/slide23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jpeg"/><Relationship Id="rId12" Type="http://schemas.openxmlformats.org/officeDocument/2006/relationships/image" Target="../media/image17.png"/><Relationship Id="rId13" Type="http://schemas.openxmlformats.org/officeDocument/2006/relationships/image" Target="../media/image18.jpeg"/><Relationship Id="rId1" Type="http://schemas.openxmlformats.org/officeDocument/2006/relationships/tags" Target="../tags/tag21.xml"/><Relationship Id="rId2" Type="http://schemas.openxmlformats.org/officeDocument/2006/relationships/slideLayout" Target="../slideLayouts/slideLayout29.xml"/><Relationship Id="rId3" Type="http://schemas.openxmlformats.org/officeDocument/2006/relationships/notesSlide" Target="../notesSlides/notesSlide21.xml"/><Relationship Id="rId4" Type="http://schemas.openxmlformats.org/officeDocument/2006/relationships/image" Target="../media/image10.jp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9.png"/><Relationship Id="rId8" Type="http://schemas.openxmlformats.org/officeDocument/2006/relationships/image" Target="../media/image13.png"/><Relationship Id="rId9" Type="http://schemas.openxmlformats.org/officeDocument/2006/relationships/image" Target="../media/image14.jpeg"/><Relationship Id="rId10" Type="http://schemas.openxmlformats.org/officeDocument/2006/relationships/image" Target="../media/image15.png"/></Relationships>
</file>

<file path=ppt/slides/_rels/slide24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jpeg"/><Relationship Id="rId12" Type="http://schemas.openxmlformats.org/officeDocument/2006/relationships/image" Target="../media/image17.png"/><Relationship Id="rId13" Type="http://schemas.openxmlformats.org/officeDocument/2006/relationships/image" Target="../media/image18.jpeg"/><Relationship Id="rId1" Type="http://schemas.openxmlformats.org/officeDocument/2006/relationships/tags" Target="../tags/tag22.xml"/><Relationship Id="rId2" Type="http://schemas.openxmlformats.org/officeDocument/2006/relationships/slideLayout" Target="../slideLayouts/slideLayout7.xml"/><Relationship Id="rId3" Type="http://schemas.openxmlformats.org/officeDocument/2006/relationships/notesSlide" Target="../notesSlides/notesSlide22.xml"/><Relationship Id="rId4" Type="http://schemas.openxmlformats.org/officeDocument/2006/relationships/image" Target="../media/image10.jp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9.png"/><Relationship Id="rId8" Type="http://schemas.openxmlformats.org/officeDocument/2006/relationships/image" Target="../media/image13.png"/><Relationship Id="rId9" Type="http://schemas.openxmlformats.org/officeDocument/2006/relationships/image" Target="../media/image14.jpeg"/><Relationship Id="rId10" Type="http://schemas.openxmlformats.org/officeDocument/2006/relationships/image" Target="../media/image15.png"/></Relationships>
</file>

<file path=ppt/slides/_rels/slide2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jpeg"/><Relationship Id="rId12" Type="http://schemas.openxmlformats.org/officeDocument/2006/relationships/image" Target="../media/image17.png"/><Relationship Id="rId13" Type="http://schemas.openxmlformats.org/officeDocument/2006/relationships/image" Target="../media/image18.jpeg"/><Relationship Id="rId1" Type="http://schemas.openxmlformats.org/officeDocument/2006/relationships/tags" Target="../tags/tag23.xml"/><Relationship Id="rId2" Type="http://schemas.openxmlformats.org/officeDocument/2006/relationships/slideLayout" Target="../slideLayouts/slideLayout7.xml"/><Relationship Id="rId3" Type="http://schemas.openxmlformats.org/officeDocument/2006/relationships/notesSlide" Target="../notesSlides/notesSlide23.xml"/><Relationship Id="rId4" Type="http://schemas.openxmlformats.org/officeDocument/2006/relationships/image" Target="../media/image10.jp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9.png"/><Relationship Id="rId8" Type="http://schemas.openxmlformats.org/officeDocument/2006/relationships/image" Target="../media/image13.png"/><Relationship Id="rId9" Type="http://schemas.openxmlformats.org/officeDocument/2006/relationships/image" Target="../media/image14.jpeg"/><Relationship Id="rId10" Type="http://schemas.openxmlformats.org/officeDocument/2006/relationships/image" Target="../media/image1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4" Type="http://schemas.openxmlformats.org/officeDocument/2006/relationships/image" Target="../media/image5.png"/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24.xml"/></Relationships>
</file>

<file path=ppt/slides/_rels/slide2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jpeg"/><Relationship Id="rId12" Type="http://schemas.openxmlformats.org/officeDocument/2006/relationships/image" Target="../media/image17.png"/><Relationship Id="rId13" Type="http://schemas.openxmlformats.org/officeDocument/2006/relationships/image" Target="../media/image18.jpeg"/><Relationship Id="rId1" Type="http://schemas.openxmlformats.org/officeDocument/2006/relationships/tags" Target="../tags/tag24.xml"/><Relationship Id="rId2" Type="http://schemas.openxmlformats.org/officeDocument/2006/relationships/slideLayout" Target="../slideLayouts/slideLayout7.xml"/><Relationship Id="rId3" Type="http://schemas.openxmlformats.org/officeDocument/2006/relationships/notesSlide" Target="../notesSlides/notesSlide25.xml"/><Relationship Id="rId4" Type="http://schemas.openxmlformats.org/officeDocument/2006/relationships/image" Target="../media/image10.jp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9.png"/><Relationship Id="rId8" Type="http://schemas.openxmlformats.org/officeDocument/2006/relationships/image" Target="../media/image13.png"/><Relationship Id="rId9" Type="http://schemas.openxmlformats.org/officeDocument/2006/relationships/image" Target="../media/image14.jpeg"/><Relationship Id="rId10" Type="http://schemas.openxmlformats.org/officeDocument/2006/relationships/image" Target="../media/image15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6.xml"/><Relationship Id="rId4" Type="http://schemas.openxmlformats.org/officeDocument/2006/relationships/image" Target="../media/image3.png"/><Relationship Id="rId5" Type="http://schemas.openxmlformats.org/officeDocument/2006/relationships/image" Target="../media/image4.png"/><Relationship Id="rId6" Type="http://schemas.openxmlformats.org/officeDocument/2006/relationships/comments" Target="../comments/comment6.xml"/><Relationship Id="rId1" Type="http://schemas.openxmlformats.org/officeDocument/2006/relationships/tags" Target="../tags/tag25.xml"/><Relationship Id="rId2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4" Type="http://schemas.openxmlformats.org/officeDocument/2006/relationships/image" Target="../media/image25.png"/><Relationship Id="rId5" Type="http://schemas.openxmlformats.org/officeDocument/2006/relationships/oleObject" Target="../embeddings/oleObject1.bin"/><Relationship Id="rId6" Type="http://schemas.openxmlformats.org/officeDocument/2006/relationships/image" Target="../media/image24.emf"/><Relationship Id="rId1" Type="http://schemas.openxmlformats.org/officeDocument/2006/relationships/vmlDrawing" Target="../drawings/vmlDrawing1.vml"/><Relationship Id="rId2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4" Type="http://schemas.openxmlformats.org/officeDocument/2006/relationships/image" Target="../media/image5.png"/><Relationship Id="rId5" Type="http://schemas.openxmlformats.org/officeDocument/2006/relationships/image" Target="../media/image6.gif"/><Relationship Id="rId1" Type="http://schemas.openxmlformats.org/officeDocument/2006/relationships/tags" Target="../tags/tag2.xml"/><Relationship Id="rId2" Type="http://schemas.openxmlformats.org/officeDocument/2006/relationships/slideLayout" Target="../slideLayouts/slideLayout2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4" Type="http://schemas.openxmlformats.org/officeDocument/2006/relationships/image" Target="../media/image5.png"/><Relationship Id="rId5" Type="http://schemas.openxmlformats.org/officeDocument/2006/relationships/image" Target="../media/image6.gif"/><Relationship Id="rId1" Type="http://schemas.openxmlformats.org/officeDocument/2006/relationships/tags" Target="../tags/tag3.xml"/><Relationship Id="rId2" Type="http://schemas.openxmlformats.org/officeDocument/2006/relationships/slideLayout" Target="../slideLayouts/slideLayout2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4" Type="http://schemas.openxmlformats.org/officeDocument/2006/relationships/image" Target="../media/image7.tmp"/><Relationship Id="rId5" Type="http://schemas.openxmlformats.org/officeDocument/2006/relationships/image" Target="../media/image8.png"/><Relationship Id="rId6" Type="http://schemas.openxmlformats.org/officeDocument/2006/relationships/image" Target="../media/image9.png"/><Relationship Id="rId1" Type="http://schemas.openxmlformats.org/officeDocument/2006/relationships/tags" Target="../tags/tag4.xml"/><Relationship Id="rId2" Type="http://schemas.openxmlformats.org/officeDocument/2006/relationships/slideLayout" Target="../slideLayouts/slideLayout29.xml"/></Relationships>
</file>

<file path=ppt/slides/_rels/slide6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jpeg"/><Relationship Id="rId12" Type="http://schemas.openxmlformats.org/officeDocument/2006/relationships/image" Target="../media/image17.png"/><Relationship Id="rId13" Type="http://schemas.openxmlformats.org/officeDocument/2006/relationships/image" Target="../media/image18.jpeg"/><Relationship Id="rId1" Type="http://schemas.openxmlformats.org/officeDocument/2006/relationships/tags" Target="../tags/tag5.xml"/><Relationship Id="rId2" Type="http://schemas.openxmlformats.org/officeDocument/2006/relationships/slideLayout" Target="../slideLayouts/slideLayout7.xml"/><Relationship Id="rId3" Type="http://schemas.openxmlformats.org/officeDocument/2006/relationships/notesSlide" Target="../notesSlides/notesSlide5.xml"/><Relationship Id="rId4" Type="http://schemas.openxmlformats.org/officeDocument/2006/relationships/image" Target="../media/image10.jp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9.png"/><Relationship Id="rId8" Type="http://schemas.openxmlformats.org/officeDocument/2006/relationships/image" Target="../media/image13.png"/><Relationship Id="rId9" Type="http://schemas.openxmlformats.org/officeDocument/2006/relationships/image" Target="../media/image14.jpeg"/><Relationship Id="rId10" Type="http://schemas.openxmlformats.org/officeDocument/2006/relationships/image" Target="../media/image15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9.jpg"/><Relationship Id="rId3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jpeg"/><Relationship Id="rId12" Type="http://schemas.openxmlformats.org/officeDocument/2006/relationships/image" Target="../media/image17.png"/><Relationship Id="rId13" Type="http://schemas.openxmlformats.org/officeDocument/2006/relationships/image" Target="../media/image18.jpeg"/><Relationship Id="rId1" Type="http://schemas.openxmlformats.org/officeDocument/2006/relationships/tags" Target="../tags/tag6.xml"/><Relationship Id="rId2" Type="http://schemas.openxmlformats.org/officeDocument/2006/relationships/slideLayout" Target="../slideLayouts/slideLayout7.xml"/><Relationship Id="rId3" Type="http://schemas.openxmlformats.org/officeDocument/2006/relationships/notesSlide" Target="../notesSlides/notesSlide6.xml"/><Relationship Id="rId4" Type="http://schemas.openxmlformats.org/officeDocument/2006/relationships/image" Target="../media/image10.jp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9.png"/><Relationship Id="rId8" Type="http://schemas.openxmlformats.org/officeDocument/2006/relationships/image" Target="../media/image13.png"/><Relationship Id="rId9" Type="http://schemas.openxmlformats.org/officeDocument/2006/relationships/image" Target="../media/image14.jpeg"/><Relationship Id="rId10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6.jpeg"/><Relationship Id="rId12" Type="http://schemas.openxmlformats.org/officeDocument/2006/relationships/image" Target="../media/image17.png"/><Relationship Id="rId13" Type="http://schemas.openxmlformats.org/officeDocument/2006/relationships/image" Target="../media/image18.jpeg"/><Relationship Id="rId1" Type="http://schemas.openxmlformats.org/officeDocument/2006/relationships/tags" Target="../tags/tag7.xml"/><Relationship Id="rId2" Type="http://schemas.openxmlformats.org/officeDocument/2006/relationships/slideLayout" Target="../slideLayouts/slideLayout7.xml"/><Relationship Id="rId3" Type="http://schemas.openxmlformats.org/officeDocument/2006/relationships/notesSlide" Target="../notesSlides/notesSlide7.xml"/><Relationship Id="rId4" Type="http://schemas.openxmlformats.org/officeDocument/2006/relationships/image" Target="../media/image10.jpg"/><Relationship Id="rId5" Type="http://schemas.openxmlformats.org/officeDocument/2006/relationships/image" Target="../media/image11.png"/><Relationship Id="rId6" Type="http://schemas.openxmlformats.org/officeDocument/2006/relationships/image" Target="../media/image12.png"/><Relationship Id="rId7" Type="http://schemas.openxmlformats.org/officeDocument/2006/relationships/image" Target="../media/image9.png"/><Relationship Id="rId8" Type="http://schemas.openxmlformats.org/officeDocument/2006/relationships/image" Target="../media/image13.png"/><Relationship Id="rId9" Type="http://schemas.openxmlformats.org/officeDocument/2006/relationships/image" Target="../media/image14.jpeg"/><Relationship Id="rId10" Type="http://schemas.openxmlformats.org/officeDocument/2006/relationships/image" Target="../media/image1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AF810644-3FD2-4CC0-9EF8-B670FB5267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52226" y="1831738"/>
            <a:ext cx="8637073" cy="2618554"/>
          </a:xfrm>
        </p:spPr>
        <p:txBody>
          <a:bodyPr>
            <a:normAutofit fontScale="90000"/>
          </a:bodyPr>
          <a:lstStyle/>
          <a:p>
            <a:r>
              <a:rPr lang="en-US" dirty="0"/>
              <a:t>Translating ELL strategies to the General Education Classroom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63572589-F515-4F97-AA3D-6AFE5557C04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252227" y="4921779"/>
            <a:ext cx="8637072" cy="1071095"/>
          </a:xfrm>
        </p:spPr>
        <p:txBody>
          <a:bodyPr/>
          <a:lstStyle/>
          <a:p>
            <a:r>
              <a:rPr lang="en-US" dirty="0"/>
              <a:t>Luis Oviedo (Luiz Oliver) Kerri Whipple</a:t>
            </a:r>
          </a:p>
        </p:txBody>
      </p:sp>
    </p:spTree>
    <p:extLst>
      <p:ext uri="{BB962C8B-B14F-4D97-AF65-F5344CB8AC3E}">
        <p14:creationId xmlns:p14="http://schemas.microsoft.com/office/powerpoint/2010/main" val="8021144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elearningexperts.files.wordpress.com/2012/07/chalkboard_wood_blac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914400"/>
            <a:ext cx="8420100" cy="429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://www.vacancesfrancaises.com/573-1419-thickbox/chalkboard-eraser-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1" y="4581192"/>
            <a:ext cx="942975" cy="75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Y:\Media\Shadowfax\Marketing\moved to Nurn\corporate branding\powerpoint\corporate\Core Presentation PPT 8.12\Images for PPT\OrangeTeach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810000"/>
            <a:ext cx="1054100" cy="291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8991601" y="4769194"/>
            <a:ext cx="1575265" cy="1880869"/>
            <a:chOff x="-609600" y="3429000"/>
            <a:chExt cx="2284593" cy="25739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09600" y="3429000"/>
              <a:ext cx="2284593" cy="257393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400" y="3936723"/>
              <a:ext cx="838200" cy="62865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362576" y="4920864"/>
            <a:ext cx="1586935" cy="1651594"/>
            <a:chOff x="2079391" y="3429000"/>
            <a:chExt cx="2236369" cy="257393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91" y="3429000"/>
              <a:ext cx="2236369" cy="257393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3600" y="3886200"/>
              <a:ext cx="855845" cy="663599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7413484" y="5269707"/>
            <a:ext cx="1371600" cy="1461631"/>
            <a:chOff x="7438553" y="3445866"/>
            <a:chExt cx="2284593" cy="2573934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8553" y="3445866"/>
              <a:ext cx="2284593" cy="257393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3806" y="3936723"/>
              <a:ext cx="821853" cy="621446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2590800" y="1273075"/>
            <a:ext cx="67818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trategy three: </a:t>
            </a:r>
          </a:p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reate a language-rich environment.</a:t>
            </a:r>
            <a:endParaRPr lang="en-US" sz="2800" dirty="0">
              <a:solidFill>
                <a:prstClr val="white">
                  <a:lumMod val="95000"/>
                </a:prstClr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ctangle 24">
            <a:hlinkClick r:id="" action="ppaction://noaction"/>
          </p:cNvPr>
          <p:cNvSpPr/>
          <p:nvPr/>
        </p:nvSpPr>
        <p:spPr>
          <a:xfrm>
            <a:off x="1524000" y="1"/>
            <a:ext cx="1981200" cy="1205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030736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lue squiggly line bckgrnd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"/>
            <a:ext cx="915035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590" y="248956"/>
            <a:ext cx="8587963" cy="645664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355749" y="1219201"/>
            <a:ext cx="7315200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indent="-742950">
              <a:buFontTx/>
              <a:buAutoNum type="arabicPeriod"/>
            </a:pPr>
            <a:r>
              <a:rPr lang="en-US" sz="3600" b="1" dirty="0">
                <a:solidFill>
                  <a:prstClr val="white"/>
                </a:solidFill>
                <a:latin typeface="Calibri"/>
              </a:rPr>
              <a:t>Read out loud every day</a:t>
            </a:r>
          </a:p>
          <a:p>
            <a:pPr marL="742950" indent="-742950">
              <a:buFontTx/>
              <a:buAutoNum type="arabicPeriod"/>
            </a:pPr>
            <a:r>
              <a:rPr lang="en-US" sz="3600" b="1" dirty="0">
                <a:solidFill>
                  <a:prstClr val="white"/>
                </a:solidFill>
                <a:latin typeface="Calibri"/>
              </a:rPr>
              <a:t>Word Walls</a:t>
            </a:r>
          </a:p>
          <a:p>
            <a:pPr marL="742950" indent="-742950">
              <a:buFontTx/>
              <a:buAutoNum type="arabicPeriod"/>
            </a:pPr>
            <a:r>
              <a:rPr lang="en-US" sz="3600" b="1" dirty="0">
                <a:solidFill>
                  <a:prstClr val="white"/>
                </a:solidFill>
                <a:latin typeface="Calibri"/>
              </a:rPr>
              <a:t>Create a Diverse Library </a:t>
            </a:r>
          </a:p>
          <a:p>
            <a:pPr marL="742950" indent="-742950">
              <a:buFontTx/>
              <a:buAutoNum type="arabicPeriod"/>
            </a:pPr>
            <a:r>
              <a:rPr lang="en-US" sz="3600" b="1" dirty="0">
                <a:solidFill>
                  <a:prstClr val="white"/>
                </a:solidFill>
                <a:latin typeface="Calibri"/>
              </a:rPr>
              <a:t>Play with words</a:t>
            </a:r>
          </a:p>
          <a:p>
            <a:pPr marL="742950" indent="-742950">
              <a:buFontTx/>
              <a:buAutoNum type="arabicPeriod"/>
            </a:pPr>
            <a:r>
              <a:rPr lang="en-US" sz="3600" b="1" dirty="0">
                <a:solidFill>
                  <a:prstClr val="white"/>
                </a:solidFill>
                <a:latin typeface="Calibri"/>
              </a:rPr>
              <a:t>Search for rich language while reading</a:t>
            </a:r>
          </a:p>
          <a:p>
            <a:pPr marL="742950" indent="-742950">
              <a:buFontTx/>
              <a:buAutoNum type="arabicPeriod"/>
            </a:pPr>
            <a:r>
              <a:rPr lang="en-US" sz="3600" b="1" dirty="0">
                <a:solidFill>
                  <a:prstClr val="white"/>
                </a:solidFill>
                <a:latin typeface="Calibri"/>
              </a:rPr>
              <a:t>Encourage rich language while writing</a:t>
            </a:r>
          </a:p>
          <a:p>
            <a:pPr marL="742950" indent="-742950">
              <a:buFontTx/>
              <a:buAutoNum type="arabicPeriod"/>
            </a:pPr>
            <a:endParaRPr lang="en-US" sz="36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032860" y="609601"/>
            <a:ext cx="797388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>
                <a:solidFill>
                  <a:prstClr val="white"/>
                </a:solidFill>
                <a:latin typeface="Segoe Print" panose="02000600000000000000" pitchFamily="2" charset="0"/>
              </a:rPr>
              <a:t>Ways to create a Language rich environment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58065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elearningexperts.files.wordpress.com/2012/07/chalkboard_wood_blac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914400"/>
            <a:ext cx="8420100" cy="429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://www.vacancesfrancaises.com/573-1419-thickbox/chalkboard-eraser-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1" y="4581192"/>
            <a:ext cx="942975" cy="75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Y:\Media\Shadowfax\Marketing\moved to Nurn\corporate branding\powerpoint\corporate\Core Presentation PPT 8.12\Images for PPT\OrangeTeach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810000"/>
            <a:ext cx="1054100" cy="291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8991601" y="4769194"/>
            <a:ext cx="1575265" cy="1880869"/>
            <a:chOff x="-609600" y="3429000"/>
            <a:chExt cx="2284593" cy="25739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09600" y="3429000"/>
              <a:ext cx="2284593" cy="257393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400" y="3936723"/>
              <a:ext cx="838200" cy="62865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362576" y="4920864"/>
            <a:ext cx="1586935" cy="1651594"/>
            <a:chOff x="2079391" y="3429000"/>
            <a:chExt cx="2236369" cy="257393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91" y="3429000"/>
              <a:ext cx="2236369" cy="257393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3600" y="3886200"/>
              <a:ext cx="855845" cy="663599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7413484" y="5269707"/>
            <a:ext cx="1371600" cy="1461631"/>
            <a:chOff x="7438553" y="3445866"/>
            <a:chExt cx="2284593" cy="2573934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8553" y="3445866"/>
              <a:ext cx="2284593" cy="257393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3806" y="3936723"/>
              <a:ext cx="821853" cy="621446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2590800" y="1273075"/>
            <a:ext cx="67818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trategy four: </a:t>
            </a:r>
          </a:p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upport academic language development</a:t>
            </a:r>
            <a:endParaRPr lang="en-US" sz="2800" dirty="0">
              <a:solidFill>
                <a:prstClr val="white">
                  <a:lumMod val="95000"/>
                </a:prstClr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ctangle 24">
            <a:hlinkClick r:id="" action="ppaction://noaction"/>
          </p:cNvPr>
          <p:cNvSpPr/>
          <p:nvPr/>
        </p:nvSpPr>
        <p:spPr>
          <a:xfrm>
            <a:off x="1524000" y="1"/>
            <a:ext cx="1981200" cy="1205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67426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elearningexperts.files.wordpress.com/2012/07/chalkboard_wood_blac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914400"/>
            <a:ext cx="8420100" cy="429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://www.vacancesfrancaises.com/573-1419-thickbox/chalkboard-eraser-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1" y="4581192"/>
            <a:ext cx="942975" cy="75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Y:\Media\Shadowfax\Marketing\moved to Nurn\corporate branding\powerpoint\corporate\Core Presentation PPT 8.12\Images for PPT\OrangeTeach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810000"/>
            <a:ext cx="1054100" cy="291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8991601" y="4769194"/>
            <a:ext cx="1575265" cy="1880869"/>
            <a:chOff x="-609600" y="3429000"/>
            <a:chExt cx="2284593" cy="25739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09600" y="3429000"/>
              <a:ext cx="2284593" cy="257393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400" y="3936723"/>
              <a:ext cx="838200" cy="62865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362576" y="4920864"/>
            <a:ext cx="1586935" cy="1651594"/>
            <a:chOff x="2079391" y="3429000"/>
            <a:chExt cx="2236369" cy="257393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91" y="3429000"/>
              <a:ext cx="2236369" cy="257393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3600" y="3886200"/>
              <a:ext cx="855845" cy="663599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7413484" y="5269707"/>
            <a:ext cx="1371600" cy="1461631"/>
            <a:chOff x="7438553" y="3445866"/>
            <a:chExt cx="2284593" cy="2573934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8553" y="3445866"/>
              <a:ext cx="2284593" cy="257393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3806" y="3936723"/>
              <a:ext cx="821853" cy="621446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2590800" y="1273075"/>
            <a:ext cx="67818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trategy five: </a:t>
            </a:r>
          </a:p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ncorporate visuals as much as possible </a:t>
            </a:r>
            <a:endParaRPr lang="en-US" sz="2800" dirty="0">
              <a:solidFill>
                <a:prstClr val="white">
                  <a:lumMod val="95000"/>
                </a:prstClr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ctangle 24">
            <a:hlinkClick r:id="" action="ppaction://noaction"/>
          </p:cNvPr>
          <p:cNvSpPr/>
          <p:nvPr/>
        </p:nvSpPr>
        <p:spPr>
          <a:xfrm>
            <a:off x="1524000" y="1"/>
            <a:ext cx="1981200" cy="1205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024020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elearningexperts.files.wordpress.com/2012/07/chalkboard_wood_blac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914400"/>
            <a:ext cx="8420100" cy="429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://www.vacancesfrancaises.com/573-1419-thickbox/chalkboard-eraser-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1" y="4581192"/>
            <a:ext cx="942975" cy="75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Y:\Media\Shadowfax\Marketing\moved to Nurn\corporate branding\powerpoint\corporate\Core Presentation PPT 8.12\Images for PPT\OrangeTeach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810000"/>
            <a:ext cx="1054100" cy="291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8991601" y="4769194"/>
            <a:ext cx="1575265" cy="1880869"/>
            <a:chOff x="-609600" y="3429000"/>
            <a:chExt cx="2284593" cy="25739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09600" y="3429000"/>
              <a:ext cx="2284593" cy="257393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400" y="3936723"/>
              <a:ext cx="838200" cy="62865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362576" y="4920864"/>
            <a:ext cx="1586935" cy="1651594"/>
            <a:chOff x="2079391" y="3429000"/>
            <a:chExt cx="2236369" cy="257393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91" y="3429000"/>
              <a:ext cx="2236369" cy="257393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3600" y="3886200"/>
              <a:ext cx="855845" cy="663599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7413484" y="5269707"/>
            <a:ext cx="1371600" cy="1461631"/>
            <a:chOff x="7438553" y="3445866"/>
            <a:chExt cx="2284593" cy="2573934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8553" y="3445866"/>
              <a:ext cx="2284593" cy="257393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3806" y="3936723"/>
              <a:ext cx="821853" cy="621446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2590800" y="1273076"/>
            <a:ext cx="67818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trategy six: </a:t>
            </a:r>
          </a:p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Discuss word families and how different forms of words are used</a:t>
            </a:r>
            <a:endParaRPr lang="en-US" sz="2800" dirty="0">
              <a:solidFill>
                <a:prstClr val="white">
                  <a:lumMod val="95000"/>
                </a:prstClr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ctangle 24">
            <a:hlinkClick r:id="" action="ppaction://noaction"/>
          </p:cNvPr>
          <p:cNvSpPr/>
          <p:nvPr/>
        </p:nvSpPr>
        <p:spPr>
          <a:xfrm>
            <a:off x="1524000" y="1"/>
            <a:ext cx="1981200" cy="1205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12442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elearningexperts.files.wordpress.com/2012/07/chalkboard_wood_blac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914400"/>
            <a:ext cx="8420100" cy="429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://www.vacancesfrancaises.com/573-1419-thickbox/chalkboard-eraser-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1" y="4581192"/>
            <a:ext cx="942975" cy="75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Y:\Media\Shadowfax\Marketing\moved to Nurn\corporate branding\powerpoint\corporate\Core Presentation PPT 8.12\Images for PPT\OrangeTeach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3759226"/>
            <a:ext cx="1054100" cy="291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8991601" y="4769194"/>
            <a:ext cx="1575265" cy="1880869"/>
            <a:chOff x="-609600" y="3429000"/>
            <a:chExt cx="2284593" cy="25739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09600" y="3429000"/>
              <a:ext cx="2284593" cy="257393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400" y="3936723"/>
              <a:ext cx="838200" cy="62865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362576" y="4920864"/>
            <a:ext cx="1586935" cy="1651594"/>
            <a:chOff x="2079391" y="3429000"/>
            <a:chExt cx="2236369" cy="257393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91" y="3429000"/>
              <a:ext cx="2236369" cy="257393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3600" y="3886200"/>
              <a:ext cx="855845" cy="663599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7413484" y="5269707"/>
            <a:ext cx="1371600" cy="1461631"/>
            <a:chOff x="7438553" y="3445866"/>
            <a:chExt cx="2284593" cy="2573934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8553" y="3445866"/>
              <a:ext cx="2284593" cy="257393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3806" y="3936723"/>
              <a:ext cx="821853" cy="621446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2743200" y="1275898"/>
            <a:ext cx="7036032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trategy seven: </a:t>
            </a:r>
          </a:p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ovide student with frequent opportunities to work together, both in pairs and in small groups.</a:t>
            </a:r>
          </a:p>
        </p:txBody>
      </p:sp>
      <p:sp>
        <p:nvSpPr>
          <p:cNvPr id="25" name="Rectangle 24">
            <a:hlinkClick r:id="" action="ppaction://noaction"/>
          </p:cNvPr>
          <p:cNvSpPr/>
          <p:nvPr/>
        </p:nvSpPr>
        <p:spPr>
          <a:xfrm>
            <a:off x="1524000" y="1"/>
            <a:ext cx="1981200" cy="1205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6018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elearningexperts.files.wordpress.com/2012/07/chalkboard_wood_blac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914400"/>
            <a:ext cx="8420100" cy="429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://www.vacancesfrancaises.com/573-1419-thickbox/chalkboard-eraser-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1" y="4581192"/>
            <a:ext cx="942975" cy="75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Y:\Media\Shadowfax\Marketing\moved to Nurn\corporate branding\powerpoint\corporate\Core Presentation PPT 8.12\Images for PPT\OrangeTeach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810000"/>
            <a:ext cx="1054100" cy="291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8991601" y="4769194"/>
            <a:ext cx="1575265" cy="1880869"/>
            <a:chOff x="-609600" y="3429000"/>
            <a:chExt cx="2284593" cy="25739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09600" y="3429000"/>
              <a:ext cx="2284593" cy="257393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400" y="3936723"/>
              <a:ext cx="838200" cy="62865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362576" y="4920864"/>
            <a:ext cx="1586935" cy="1651594"/>
            <a:chOff x="2079391" y="3429000"/>
            <a:chExt cx="2236369" cy="257393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91" y="3429000"/>
              <a:ext cx="2236369" cy="257393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3600" y="3886200"/>
              <a:ext cx="855845" cy="663599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7413484" y="5269707"/>
            <a:ext cx="1371600" cy="1461631"/>
            <a:chOff x="7438553" y="3445866"/>
            <a:chExt cx="2284593" cy="2573934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8553" y="3445866"/>
              <a:ext cx="2284593" cy="257393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3806" y="3936723"/>
              <a:ext cx="821853" cy="621446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2590800" y="1273076"/>
            <a:ext cx="678180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trategy eight: </a:t>
            </a:r>
          </a:p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Be aware of the relationship between a student’s native language and English</a:t>
            </a:r>
            <a:endParaRPr lang="en-US" sz="2800" dirty="0">
              <a:solidFill>
                <a:prstClr val="white">
                  <a:lumMod val="95000"/>
                </a:prstClr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ctangle 24">
            <a:hlinkClick r:id="" action="ppaction://noaction"/>
          </p:cNvPr>
          <p:cNvSpPr/>
          <p:nvPr/>
        </p:nvSpPr>
        <p:spPr>
          <a:xfrm>
            <a:off x="1524000" y="1"/>
            <a:ext cx="1981200" cy="1205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12100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lue squiggly line bckgrnd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"/>
            <a:ext cx="915035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590" y="248956"/>
            <a:ext cx="8587963" cy="645664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327527" y="1676401"/>
            <a:ext cx="7315200" cy="32316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en-US" sz="2400" dirty="0">
              <a:solidFill>
                <a:prstClr val="white"/>
              </a:solidFill>
              <a:latin typeface="Calibri"/>
            </a:endParaRPr>
          </a:p>
          <a:p>
            <a:r>
              <a:rPr lang="en-US" sz="2400" i="1" dirty="0">
                <a:solidFill>
                  <a:prstClr val="white"/>
                </a:solidFill>
              </a:rPr>
              <a:t>Learner English Second Edition: A teacher’s Guide to interference and other problems </a:t>
            </a:r>
          </a:p>
          <a:p>
            <a:endParaRPr lang="en-US" sz="2400" i="1" dirty="0">
              <a:solidFill>
                <a:prstClr val="white"/>
              </a:solidFill>
            </a:endParaRPr>
          </a:p>
          <a:p>
            <a:r>
              <a:rPr lang="en-US" sz="2400" i="1" dirty="0">
                <a:solidFill>
                  <a:prstClr val="white"/>
                </a:solidFill>
              </a:rPr>
              <a:t>http://assets.cambridge.org/97805217/79395/frontmatter/9780521779395_frontmatter.pdf</a:t>
            </a:r>
            <a:endParaRPr lang="en-US" sz="2400" i="1" dirty="0">
              <a:solidFill>
                <a:prstClr val="white"/>
              </a:solidFill>
              <a:latin typeface="Calibri"/>
            </a:endParaRPr>
          </a:p>
          <a:p>
            <a:endParaRPr lang="en-US" sz="2400" dirty="0">
              <a:solidFill>
                <a:prstClr val="white"/>
              </a:solidFill>
              <a:latin typeface="Calibri"/>
            </a:endParaRPr>
          </a:p>
          <a:p>
            <a:endParaRPr lang="en-US" sz="36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338817" y="609601"/>
            <a:ext cx="79738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prstClr val="white"/>
                </a:solidFill>
                <a:latin typeface="Calibri"/>
              </a:rPr>
              <a:t>Great Article to read!!!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92631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lue squiggly line bckgrnd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"/>
            <a:ext cx="915035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590" y="248956"/>
            <a:ext cx="8587963" cy="645664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327527" y="1676401"/>
            <a:ext cx="7315200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prstClr val="white"/>
                </a:solidFill>
                <a:latin typeface="Calibri"/>
              </a:rPr>
              <a:t>The consonants: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v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h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j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r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z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ñ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x</a:t>
            </a:r>
          </a:p>
          <a:p>
            <a:endParaRPr lang="en-US" sz="2400" i="1" dirty="0">
              <a:solidFill>
                <a:prstClr val="white"/>
              </a:solidFill>
              <a:latin typeface="Calibri"/>
            </a:endParaRPr>
          </a:p>
          <a:p>
            <a:r>
              <a:rPr lang="en-US" sz="2400" i="1" dirty="0">
                <a:solidFill>
                  <a:prstClr val="white"/>
                </a:solidFill>
                <a:latin typeface="Calibri"/>
              </a:rPr>
              <a:t>The blends: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ll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, and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rr</a:t>
            </a:r>
            <a:endParaRPr lang="en-US" sz="2400" dirty="0">
              <a:solidFill>
                <a:prstClr val="white"/>
              </a:solidFill>
              <a:latin typeface="Calibri"/>
            </a:endParaRPr>
          </a:p>
          <a:p>
            <a:endParaRPr lang="en-US" sz="2400" dirty="0">
              <a:solidFill>
                <a:prstClr val="white"/>
              </a:solidFill>
              <a:latin typeface="Calibri"/>
            </a:endParaRPr>
          </a:p>
          <a:p>
            <a:r>
              <a:rPr lang="en-US" sz="2400" dirty="0">
                <a:solidFill>
                  <a:prstClr val="white"/>
                </a:solidFill>
                <a:latin typeface="Calibri"/>
              </a:rPr>
              <a:t>Combinations in Spanish that are pronounced differently: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que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qui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güe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güi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. For example: the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u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 is not pronounced unless it is written as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ü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; therefore, students may not be sure how to pronounce words like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queen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quiet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or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quick</a:t>
            </a:r>
            <a:endParaRPr lang="en-US" sz="2400" dirty="0">
              <a:solidFill>
                <a:prstClr val="white"/>
              </a:solidFill>
              <a:latin typeface="Calibri"/>
            </a:endParaRPr>
          </a:p>
          <a:p>
            <a:endParaRPr lang="en-US" sz="2400" dirty="0">
              <a:solidFill>
                <a:prstClr val="white"/>
              </a:solidFill>
              <a:latin typeface="Calibri"/>
            </a:endParaRPr>
          </a:p>
          <a:p>
            <a:r>
              <a:rPr lang="en-US" sz="2400" dirty="0">
                <a:solidFill>
                  <a:prstClr val="white"/>
                </a:solidFill>
                <a:latin typeface="Calibri"/>
              </a:rPr>
              <a:t>Quotation marks vs. dashes: "Come here," he said. –</a:t>
            </a:r>
            <a:r>
              <a:rPr lang="en-US" sz="2400" dirty="0" err="1">
                <a:solidFill>
                  <a:prstClr val="white"/>
                </a:solidFill>
                <a:latin typeface="Calibri"/>
              </a:rPr>
              <a:t>Ven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 </a:t>
            </a:r>
            <a:r>
              <a:rPr lang="en-US" sz="2400" dirty="0" err="1">
                <a:solidFill>
                  <a:prstClr val="white"/>
                </a:solidFill>
                <a:latin typeface="Calibri"/>
              </a:rPr>
              <a:t>aquí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–le </a:t>
            </a:r>
            <a:r>
              <a:rPr lang="en-US" sz="2400" dirty="0" err="1">
                <a:solidFill>
                  <a:prstClr val="white"/>
                </a:solidFill>
                <a:latin typeface="Calibri"/>
              </a:rPr>
              <a:t>dijo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.</a:t>
            </a:r>
          </a:p>
          <a:p>
            <a:pPr marL="742950" indent="-742950">
              <a:buFontTx/>
              <a:buAutoNum type="arabicPeriod"/>
            </a:pPr>
            <a:endParaRPr lang="en-US" sz="36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338817" y="609601"/>
            <a:ext cx="797388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dirty="0">
                <a:solidFill>
                  <a:prstClr val="white"/>
                </a:solidFill>
                <a:latin typeface="Calibri"/>
              </a:rPr>
              <a:t>Here are a few differences between </a:t>
            </a:r>
          </a:p>
          <a:p>
            <a:pPr algn="ctr"/>
            <a:r>
              <a:rPr lang="en-US" sz="2800" dirty="0">
                <a:solidFill>
                  <a:prstClr val="white"/>
                </a:solidFill>
                <a:latin typeface="Calibri"/>
              </a:rPr>
              <a:t>Spanish and English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645866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6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lue squiggly line bckgrnd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"/>
            <a:ext cx="915035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590" y="248956"/>
            <a:ext cx="8587963" cy="645664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327527" y="1676400"/>
            <a:ext cx="7315200" cy="4339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prstClr val="white"/>
                </a:solidFill>
                <a:latin typeface="Calibri"/>
              </a:rPr>
              <a:t>Vowel diagraphs: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ou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ow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eigh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au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aw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oo</a:t>
            </a:r>
            <a:endParaRPr lang="en-US" sz="2400" dirty="0">
              <a:solidFill>
                <a:prstClr val="white"/>
              </a:solidFill>
              <a:latin typeface="Calibri"/>
            </a:endParaRPr>
          </a:p>
          <a:p>
            <a:r>
              <a:rPr lang="en-US" sz="2400" dirty="0">
                <a:solidFill>
                  <a:prstClr val="white"/>
                </a:solidFill>
                <a:latin typeface="Calibri"/>
              </a:rPr>
              <a:t>Consonant digraphs: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sh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th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wh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ph</a:t>
            </a:r>
            <a:endParaRPr lang="en-US" sz="2400" dirty="0">
              <a:solidFill>
                <a:prstClr val="white"/>
              </a:solidFill>
              <a:latin typeface="Calibri"/>
            </a:endParaRPr>
          </a:p>
          <a:p>
            <a:r>
              <a:rPr lang="en-US" sz="2400" dirty="0">
                <a:solidFill>
                  <a:prstClr val="white"/>
                </a:solidFill>
                <a:latin typeface="Calibri"/>
              </a:rPr>
              <a:t>Consonant blends: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sl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sm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sts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scr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spr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str</a:t>
            </a:r>
            <a:endParaRPr lang="en-US" sz="2400" dirty="0">
              <a:solidFill>
                <a:prstClr val="white"/>
              </a:solidFill>
              <a:latin typeface="Calibri"/>
            </a:endParaRPr>
          </a:p>
          <a:p>
            <a:r>
              <a:rPr lang="en-US" sz="2400" dirty="0">
                <a:solidFill>
                  <a:prstClr val="white"/>
                </a:solidFill>
                <a:latin typeface="Calibri"/>
              </a:rPr>
              <a:t>Initial sounds: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kn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qu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wr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sk</a:t>
            </a:r>
            <a:endParaRPr lang="en-US" sz="2400" dirty="0">
              <a:solidFill>
                <a:prstClr val="white"/>
              </a:solidFill>
              <a:latin typeface="Calibri"/>
            </a:endParaRPr>
          </a:p>
          <a:p>
            <a:r>
              <a:rPr lang="en-US" sz="2400" dirty="0">
                <a:solidFill>
                  <a:prstClr val="white"/>
                </a:solidFill>
                <a:latin typeface="Calibri"/>
              </a:rPr>
              <a:t>Final sounds: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ck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ng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gh</a:t>
            </a:r>
            <a:endParaRPr lang="en-US" sz="2400" dirty="0">
              <a:solidFill>
                <a:prstClr val="white"/>
              </a:solidFill>
              <a:latin typeface="Calibri"/>
            </a:endParaRPr>
          </a:p>
          <a:p>
            <a:r>
              <a:rPr lang="en-US" sz="2400" dirty="0">
                <a:solidFill>
                  <a:prstClr val="white"/>
                </a:solidFill>
                <a:latin typeface="Calibri"/>
              </a:rPr>
              <a:t>Endings: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-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ed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 (pronounced /d/ or /t/ or /</a:t>
            </a:r>
            <a:r>
              <a:rPr lang="en-US" sz="2400" dirty="0" err="1">
                <a:solidFill>
                  <a:prstClr val="white"/>
                </a:solidFill>
                <a:latin typeface="Calibri"/>
              </a:rPr>
              <a:t>ded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/ or /ted/)</a:t>
            </a:r>
          </a:p>
          <a:p>
            <a:r>
              <a:rPr lang="en-US" sz="2400" dirty="0">
                <a:solidFill>
                  <a:prstClr val="white"/>
                </a:solidFill>
                <a:latin typeface="Calibri"/>
              </a:rPr>
              <a:t>Endings: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-s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 (pronounced /s/ or /z/ or /</a:t>
            </a:r>
            <a:r>
              <a:rPr lang="en-US" sz="2400" dirty="0" err="1">
                <a:solidFill>
                  <a:prstClr val="white"/>
                </a:solidFill>
                <a:latin typeface="Calibri"/>
              </a:rPr>
              <a:t>ez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/ or /</a:t>
            </a:r>
            <a:r>
              <a:rPr lang="en-US" sz="2400" dirty="0" err="1">
                <a:solidFill>
                  <a:prstClr val="white"/>
                </a:solidFill>
                <a:latin typeface="Calibri"/>
              </a:rPr>
              <a:t>es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/)</a:t>
            </a:r>
          </a:p>
          <a:p>
            <a:r>
              <a:rPr lang="en-US" sz="2400" dirty="0">
                <a:solidFill>
                  <a:prstClr val="white"/>
                </a:solidFill>
                <a:latin typeface="Calibri"/>
              </a:rPr>
              <a:t>Endings without a vowel: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-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ps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-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ts</a:t>
            </a:r>
            <a:endParaRPr lang="en-US" sz="2400" dirty="0">
              <a:solidFill>
                <a:prstClr val="white"/>
              </a:solidFill>
              <a:latin typeface="Calibri"/>
            </a:endParaRPr>
          </a:p>
          <a:p>
            <a:r>
              <a:rPr lang="en-US" sz="2400" dirty="0">
                <a:solidFill>
                  <a:prstClr val="white"/>
                </a:solidFill>
                <a:latin typeface="Calibri"/>
              </a:rPr>
              <a:t>Suffixes/prefixes: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un-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over-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under-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-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ly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-ness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-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ful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-</a:t>
            </a:r>
            <a:r>
              <a:rPr lang="en-US" sz="2400" i="1" dirty="0" err="1">
                <a:solidFill>
                  <a:prstClr val="white"/>
                </a:solidFill>
                <a:latin typeface="Calibri"/>
              </a:rPr>
              <a:t>est</a:t>
            </a:r>
            <a:endParaRPr lang="en-US" sz="2400" dirty="0">
              <a:solidFill>
                <a:prstClr val="white"/>
              </a:solidFill>
              <a:latin typeface="Calibri"/>
            </a:endParaRPr>
          </a:p>
          <a:p>
            <a:r>
              <a:rPr lang="en-US" sz="2400" dirty="0">
                <a:solidFill>
                  <a:prstClr val="white"/>
                </a:solidFill>
                <a:latin typeface="Calibri"/>
              </a:rPr>
              <a:t>Contractions: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don't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isn't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</a:t>
            </a:r>
            <a:r>
              <a:rPr lang="en-US" sz="2400" i="1" dirty="0">
                <a:solidFill>
                  <a:prstClr val="white"/>
                </a:solidFill>
                <a:latin typeface="Calibri"/>
              </a:rPr>
              <a:t>weren't</a:t>
            </a:r>
            <a:r>
              <a:rPr lang="en-US" sz="2400" dirty="0">
                <a:solidFill>
                  <a:prstClr val="white"/>
                </a:solidFill>
                <a:latin typeface="Calibri"/>
              </a:rPr>
              <a:t>, etc.</a:t>
            </a:r>
          </a:p>
          <a:p>
            <a:endParaRPr lang="en-US" sz="3600" b="1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338817" y="609600"/>
            <a:ext cx="797388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prstClr val="white"/>
                </a:solidFill>
                <a:latin typeface="Calibri"/>
              </a:rPr>
              <a:t>Spanish does not have the following sounds :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49771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lue squiggly line bckgrnd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"/>
            <a:ext cx="915035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768" y="200679"/>
            <a:ext cx="8587963" cy="645664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466334" y="2045253"/>
            <a:ext cx="73152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prstClr val="white"/>
                </a:solidFill>
                <a:latin typeface="Calibri"/>
              </a:rPr>
              <a:t>Who does what?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181724" y="3048001"/>
            <a:ext cx="7599810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prstClr val="white"/>
                </a:solidFill>
                <a:latin typeface="Calibri"/>
              </a:rPr>
              <a:t>Work with your partner to go over the Venn Diagram and determine which tasks are done by the ELL teacher, General Ed. Teacher or both.</a:t>
            </a: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032860" y="609600"/>
            <a:ext cx="7973881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prstClr val="white"/>
                </a:solidFill>
                <a:latin typeface="Segoe Print" panose="02000600000000000000" pitchFamily="2" charset="0"/>
              </a:rPr>
              <a:t>Activity One: </a:t>
            </a:r>
          </a:p>
          <a:p>
            <a:pPr algn="ctr"/>
            <a:r>
              <a:rPr lang="en-US" sz="2800" b="1" dirty="0">
                <a:solidFill>
                  <a:prstClr val="white"/>
                </a:solidFill>
                <a:latin typeface="Segoe Print" panose="02000600000000000000" pitchFamily="2" charset="0"/>
              </a:rPr>
              <a:t>ELL Teacher Vs. General Teacher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08347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5" grpId="0"/>
      <p:bldP spid="16" grpId="0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elearningexperts.files.wordpress.com/2012/07/chalkboard_wood_blac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914400"/>
            <a:ext cx="8420100" cy="429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://www.vacancesfrancaises.com/573-1419-thickbox/chalkboard-eraser-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1" y="4581192"/>
            <a:ext cx="942975" cy="75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Y:\Media\Shadowfax\Marketing\moved to Nurn\corporate branding\powerpoint\corporate\Core Presentation PPT 8.12\Images for PPT\OrangeTeach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810000"/>
            <a:ext cx="1054100" cy="291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8991601" y="4769194"/>
            <a:ext cx="1575265" cy="1880869"/>
            <a:chOff x="-609600" y="3429000"/>
            <a:chExt cx="2284593" cy="25739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09600" y="3429000"/>
              <a:ext cx="2284593" cy="257393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400" y="3936723"/>
              <a:ext cx="838200" cy="62865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362576" y="4920864"/>
            <a:ext cx="1586935" cy="1651594"/>
            <a:chOff x="2079391" y="3429000"/>
            <a:chExt cx="2236369" cy="257393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91" y="3429000"/>
              <a:ext cx="2236369" cy="257393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3600" y="3886200"/>
              <a:ext cx="855845" cy="663599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7413484" y="5269707"/>
            <a:ext cx="1371600" cy="1461631"/>
            <a:chOff x="7438553" y="3445866"/>
            <a:chExt cx="2284593" cy="2573934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8553" y="3445866"/>
              <a:ext cx="2284593" cy="257393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3806" y="3936723"/>
              <a:ext cx="821853" cy="621446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2590800" y="1273075"/>
            <a:ext cx="67818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trategy nine: </a:t>
            </a:r>
          </a:p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reate more opportunities for Collaborative work</a:t>
            </a:r>
            <a:endParaRPr lang="en-US" sz="2800" dirty="0">
              <a:solidFill>
                <a:prstClr val="white">
                  <a:lumMod val="95000"/>
                </a:prstClr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ctangle 24">
            <a:hlinkClick r:id="" action="ppaction://noaction"/>
          </p:cNvPr>
          <p:cNvSpPr/>
          <p:nvPr/>
        </p:nvSpPr>
        <p:spPr>
          <a:xfrm>
            <a:off x="1524000" y="1"/>
            <a:ext cx="1981200" cy="1205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74626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228600"/>
            <a:ext cx="9144000" cy="6324600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379982" y="4114801"/>
            <a:ext cx="311581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b="1" dirty="0">
                <a:solidFill>
                  <a:prstClr val="black"/>
                </a:solidFill>
                <a:latin typeface="Calibri"/>
              </a:rPr>
              <a:t>Collaborative Practice</a:t>
            </a: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1389661">
            <a:off x="1817574" y="583877"/>
            <a:ext cx="4240637" cy="3180477"/>
          </a:xfrm>
          <a:prstGeom prst="roundRect">
            <a:avLst>
              <a:gd name="adj" fmla="val 16667"/>
            </a:avLst>
          </a:prstGeom>
          <a:ln>
            <a:noFill/>
          </a:ln>
          <a:effectLst>
            <a:outerShdw blurRad="76200" dist="38100" dir="78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contrasting" dir="t">
              <a:rot lat="0" lon="0" rev="4200000"/>
            </a:lightRig>
          </a:scene3d>
          <a:sp3d prstMaterial="plastic">
            <a:bevelT w="381000" h="114300" prst="relaxedInset"/>
            <a:contourClr>
              <a:srgbClr val="969696"/>
            </a:contourClr>
          </a:sp3d>
        </p:spPr>
      </p:pic>
      <p:sp>
        <p:nvSpPr>
          <p:cNvPr id="2" name="TextBox 1"/>
          <p:cNvSpPr txBox="1"/>
          <p:nvPr/>
        </p:nvSpPr>
        <p:spPr>
          <a:xfrm>
            <a:off x="6075616" y="1066801"/>
            <a:ext cx="4287584" cy="403187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3200" b="1" dirty="0">
                <a:solidFill>
                  <a:srgbClr val="403E3F">
                    <a:lumMod val="50000"/>
                  </a:srgbClr>
                </a:solidFill>
                <a:latin typeface="Calibri"/>
              </a:rPr>
              <a:t>interactive learning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3200" b="1" dirty="0">
                <a:solidFill>
                  <a:srgbClr val="403E3F">
                    <a:lumMod val="50000"/>
                  </a:srgbClr>
                </a:solidFill>
                <a:latin typeface="Calibri"/>
              </a:rPr>
              <a:t>peer tutoring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3200" b="1" dirty="0">
                <a:solidFill>
                  <a:srgbClr val="403E3F">
                    <a:lumMod val="50000"/>
                  </a:srgbClr>
                </a:solidFill>
                <a:latin typeface="Calibri"/>
              </a:rPr>
              <a:t>shared learning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3200" b="1" dirty="0">
                <a:solidFill>
                  <a:srgbClr val="403E3F">
                    <a:lumMod val="50000"/>
                  </a:srgbClr>
                </a:solidFill>
                <a:latin typeface="Calibri"/>
              </a:rPr>
              <a:t>interactive activities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3200" b="1" dirty="0">
                <a:solidFill>
                  <a:srgbClr val="403E3F">
                    <a:lumMod val="50000"/>
                  </a:srgbClr>
                </a:solidFill>
                <a:latin typeface="Calibri"/>
              </a:rPr>
              <a:t> buddy reading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3200" b="1" dirty="0">
                <a:solidFill>
                  <a:srgbClr val="403E3F">
                    <a:lumMod val="50000"/>
                  </a:srgbClr>
                </a:solidFill>
                <a:latin typeface="Calibri"/>
              </a:rPr>
              <a:t>independent projects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3200" b="1" dirty="0">
                <a:solidFill>
                  <a:srgbClr val="403E3F">
                    <a:lumMod val="50000"/>
                  </a:srgbClr>
                </a:solidFill>
                <a:latin typeface="Calibri"/>
              </a:rPr>
              <a:t>cooperative learning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3200" b="1" dirty="0">
                <a:solidFill>
                  <a:srgbClr val="403E3F">
                    <a:lumMod val="50000"/>
                  </a:srgbClr>
                </a:solidFill>
                <a:latin typeface="Calibri"/>
              </a:rPr>
              <a:t>journaling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58692962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elearningexperts.files.wordpress.com/2012/07/chalkboard_wood_blac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914400"/>
            <a:ext cx="8420100" cy="429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://www.vacancesfrancaises.com/573-1419-thickbox/chalkboard-eraser-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1" y="4581192"/>
            <a:ext cx="942975" cy="75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Y:\Media\Shadowfax\Marketing\moved to Nurn\corporate branding\powerpoint\corporate\Core Presentation PPT 8.12\Images for PPT\OrangeTeach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810000"/>
            <a:ext cx="1054100" cy="291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8991601" y="4769194"/>
            <a:ext cx="1575265" cy="1880869"/>
            <a:chOff x="-609600" y="3429000"/>
            <a:chExt cx="2284593" cy="25739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09600" y="3429000"/>
              <a:ext cx="2284593" cy="257393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400" y="3936723"/>
              <a:ext cx="838200" cy="62865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362576" y="4920864"/>
            <a:ext cx="1586935" cy="1651594"/>
            <a:chOff x="2079391" y="3429000"/>
            <a:chExt cx="2236369" cy="257393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91" y="3429000"/>
              <a:ext cx="2236369" cy="257393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3600" y="3886200"/>
              <a:ext cx="855845" cy="663599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7413484" y="5269707"/>
            <a:ext cx="1371600" cy="1461631"/>
            <a:chOff x="7438553" y="3445866"/>
            <a:chExt cx="2284593" cy="2573934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8553" y="3445866"/>
              <a:ext cx="2284593" cy="257393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3806" y="3936723"/>
              <a:ext cx="821853" cy="621446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2590800" y="1273076"/>
            <a:ext cx="67818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trategy ten: </a:t>
            </a:r>
          </a:p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Collaborate with your ESL team as well as the global community of teachers</a:t>
            </a:r>
            <a:endParaRPr lang="en-US" sz="2800" dirty="0">
              <a:solidFill>
                <a:prstClr val="white">
                  <a:lumMod val="95000"/>
                </a:prstClr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ctangle 24">
            <a:hlinkClick r:id="" action="ppaction://noaction"/>
          </p:cNvPr>
          <p:cNvSpPr/>
          <p:nvPr/>
        </p:nvSpPr>
        <p:spPr>
          <a:xfrm>
            <a:off x="1524000" y="1"/>
            <a:ext cx="1981200" cy="1205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33027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elearningexperts.files.wordpress.com/2012/07/chalkboard_wood_blac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914400"/>
            <a:ext cx="8420100" cy="429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://www.vacancesfrancaises.com/573-1419-thickbox/chalkboard-eraser-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1" y="4581192"/>
            <a:ext cx="942975" cy="75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Y:\Media\Shadowfax\Marketing\moved to Nurn\corporate branding\powerpoint\corporate\Core Presentation PPT 8.12\Images for PPT\OrangeTeach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810000"/>
            <a:ext cx="1054100" cy="291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8991601" y="4769194"/>
            <a:ext cx="1575265" cy="1880869"/>
            <a:chOff x="-609600" y="3429000"/>
            <a:chExt cx="2284593" cy="25739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09600" y="3429000"/>
              <a:ext cx="2284593" cy="257393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400" y="3936723"/>
              <a:ext cx="838200" cy="62865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362576" y="4920864"/>
            <a:ext cx="1586935" cy="1651594"/>
            <a:chOff x="2079391" y="3429000"/>
            <a:chExt cx="2236369" cy="257393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91" y="3429000"/>
              <a:ext cx="2236369" cy="257393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3600" y="3886200"/>
              <a:ext cx="855845" cy="663599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7413484" y="5269707"/>
            <a:ext cx="1371600" cy="1461631"/>
            <a:chOff x="7438553" y="3445866"/>
            <a:chExt cx="2284593" cy="2573934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8553" y="3445866"/>
              <a:ext cx="2284593" cy="257393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3806" y="3936723"/>
              <a:ext cx="821853" cy="621446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2590800" y="1273075"/>
            <a:ext cx="67818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trategy eleven: </a:t>
            </a:r>
          </a:p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llow for students to adjust to the change</a:t>
            </a:r>
            <a:endParaRPr lang="en-US" sz="2800" dirty="0">
              <a:solidFill>
                <a:prstClr val="white">
                  <a:lumMod val="95000"/>
                </a:prstClr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ctangle 24">
            <a:hlinkClick r:id="" action="ppaction://noaction"/>
          </p:cNvPr>
          <p:cNvSpPr/>
          <p:nvPr/>
        </p:nvSpPr>
        <p:spPr>
          <a:xfrm>
            <a:off x="1524000" y="1"/>
            <a:ext cx="1981200" cy="1205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621524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elearningexperts.files.wordpress.com/2012/07/chalkboard_wood_blac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914400"/>
            <a:ext cx="8420100" cy="429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://www.vacancesfrancaises.com/573-1419-thickbox/chalkboard-eraser-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1" y="4581192"/>
            <a:ext cx="942975" cy="75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Y:\Media\Shadowfax\Marketing\moved to Nurn\corporate branding\powerpoint\corporate\Core Presentation PPT 8.12\Images for PPT\OrangeTeach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810000"/>
            <a:ext cx="1054100" cy="291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8991601" y="4769194"/>
            <a:ext cx="1575265" cy="1880869"/>
            <a:chOff x="-609600" y="3429000"/>
            <a:chExt cx="2284593" cy="25739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09600" y="3429000"/>
              <a:ext cx="2284593" cy="257393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400" y="3936723"/>
              <a:ext cx="838200" cy="62865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362576" y="4920864"/>
            <a:ext cx="1586935" cy="1651594"/>
            <a:chOff x="2079391" y="3429000"/>
            <a:chExt cx="2236369" cy="257393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91" y="3429000"/>
              <a:ext cx="2236369" cy="257393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3600" y="3886200"/>
              <a:ext cx="855845" cy="663599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7413484" y="5269707"/>
            <a:ext cx="1371600" cy="1461631"/>
            <a:chOff x="7438553" y="3445866"/>
            <a:chExt cx="2284593" cy="2573934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8553" y="3445866"/>
              <a:ext cx="2284593" cy="257393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3806" y="3936723"/>
              <a:ext cx="821853" cy="621446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2590800" y="1273076"/>
            <a:ext cx="67818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trategy twelve: </a:t>
            </a:r>
          </a:p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Allow for support from the first language if possible</a:t>
            </a:r>
            <a:endParaRPr lang="en-US" sz="2800" dirty="0">
              <a:solidFill>
                <a:prstClr val="white">
                  <a:lumMod val="95000"/>
                </a:prstClr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ctangle 24">
            <a:hlinkClick r:id="" action="ppaction://noaction"/>
          </p:cNvPr>
          <p:cNvSpPr/>
          <p:nvPr/>
        </p:nvSpPr>
        <p:spPr>
          <a:xfrm>
            <a:off x="1524000" y="1"/>
            <a:ext cx="1981200" cy="1205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290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elearningexperts.files.wordpress.com/2012/07/chalkboard_wood_blac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914400"/>
            <a:ext cx="8420100" cy="429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://www.vacancesfrancaises.com/573-1419-thickbox/chalkboard-eraser-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1" y="4581192"/>
            <a:ext cx="942975" cy="75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Y:\Media\Shadowfax\Marketing\moved to Nurn\corporate branding\powerpoint\corporate\Core Presentation PPT 8.12\Images for PPT\OrangeTeach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810000"/>
            <a:ext cx="1054100" cy="291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8991601" y="4769194"/>
            <a:ext cx="1575265" cy="1880869"/>
            <a:chOff x="-609600" y="3429000"/>
            <a:chExt cx="2284593" cy="25739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09600" y="3429000"/>
              <a:ext cx="2284593" cy="257393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400" y="3936723"/>
              <a:ext cx="838200" cy="62865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362576" y="4920864"/>
            <a:ext cx="1586935" cy="1651594"/>
            <a:chOff x="2079391" y="3429000"/>
            <a:chExt cx="2236369" cy="257393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91" y="3429000"/>
              <a:ext cx="2236369" cy="257393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3600" y="3886200"/>
              <a:ext cx="855845" cy="663599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7413484" y="5269707"/>
            <a:ext cx="1371600" cy="1461631"/>
            <a:chOff x="7438553" y="3445866"/>
            <a:chExt cx="2284593" cy="2573934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8553" y="3445866"/>
              <a:ext cx="2284593" cy="257393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3806" y="3936723"/>
              <a:ext cx="821853" cy="621446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2590800" y="1273075"/>
            <a:ext cx="67818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trategy thirteen: </a:t>
            </a:r>
          </a:p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Look out for culturally unique vocabulary</a:t>
            </a:r>
            <a:endParaRPr lang="en-US" sz="2800" dirty="0">
              <a:solidFill>
                <a:prstClr val="white">
                  <a:lumMod val="95000"/>
                </a:prstClr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ctangle 24">
            <a:hlinkClick r:id="" action="ppaction://noaction"/>
          </p:cNvPr>
          <p:cNvSpPr/>
          <p:nvPr/>
        </p:nvSpPr>
        <p:spPr>
          <a:xfrm>
            <a:off x="1524000" y="1"/>
            <a:ext cx="1981200" cy="1205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02063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1"/>
          <p:cNvPicPr>
            <a:picLocks noChangeAspect="1"/>
          </p:cNvPicPr>
          <p:nvPr/>
        </p:nvPicPr>
        <p:blipFill>
          <a:blip r:embed="rId3">
            <a:grayscl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4664" y="304800"/>
            <a:ext cx="8770937" cy="6324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059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1589"/>
            <a:ext cx="9144000" cy="6854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5060" name="TextBox 8"/>
          <p:cNvSpPr txBox="1">
            <a:spLocks noChangeArrowheads="1"/>
          </p:cNvSpPr>
          <p:nvPr/>
        </p:nvSpPr>
        <p:spPr bwMode="auto">
          <a:xfrm>
            <a:off x="2362200" y="457200"/>
            <a:ext cx="72390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3200" b="1">
                <a:solidFill>
                  <a:prstClr val="white"/>
                </a:solidFill>
                <a:latin typeface="Segoe Print" pitchFamily="2" charset="0"/>
              </a:rPr>
              <a:t>Native-Like English Proficiency</a:t>
            </a:r>
          </a:p>
        </p:txBody>
      </p:sp>
      <p:sp>
        <p:nvSpPr>
          <p:cNvPr id="45061" name="TextBox 9"/>
          <p:cNvSpPr txBox="1">
            <a:spLocks noChangeArrowheads="1"/>
          </p:cNvSpPr>
          <p:nvPr/>
        </p:nvSpPr>
        <p:spPr bwMode="auto">
          <a:xfrm>
            <a:off x="7696200" y="5969000"/>
            <a:ext cx="1447800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3200" b="1" dirty="0">
                <a:solidFill>
                  <a:prstClr val="white"/>
                </a:solidFill>
                <a:latin typeface="Segoe Print" pitchFamily="2" charset="0"/>
              </a:rPr>
              <a:t>Years</a:t>
            </a:r>
          </a:p>
        </p:txBody>
      </p:sp>
      <p:sp>
        <p:nvSpPr>
          <p:cNvPr id="11" name="TextBox 10"/>
          <p:cNvSpPr txBox="1">
            <a:spLocks noChangeArrowheads="1"/>
          </p:cNvSpPr>
          <p:nvPr/>
        </p:nvSpPr>
        <p:spPr bwMode="auto">
          <a:xfrm>
            <a:off x="8991600" y="5722938"/>
            <a:ext cx="609600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800" dirty="0">
                <a:solidFill>
                  <a:srgbClr val="166DA2"/>
                </a:solidFill>
                <a:sym typeface="Wingdings 2" pitchFamily="18" charset="2"/>
              </a:rPr>
              <a:t></a:t>
            </a:r>
            <a:endParaRPr lang="en-US" sz="4800" dirty="0">
              <a:solidFill>
                <a:srgbClr val="166DA2"/>
              </a:solidFill>
            </a:endParaRPr>
          </a:p>
        </p:txBody>
      </p:sp>
      <p:sp>
        <p:nvSpPr>
          <p:cNvPr id="12" name="TextBox 11"/>
          <p:cNvSpPr txBox="1">
            <a:spLocks noChangeArrowheads="1"/>
          </p:cNvSpPr>
          <p:nvPr/>
        </p:nvSpPr>
        <p:spPr bwMode="auto">
          <a:xfrm>
            <a:off x="7696200" y="5105400"/>
            <a:ext cx="609600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800" dirty="0">
                <a:solidFill>
                  <a:srgbClr val="166DA2"/>
                </a:solidFill>
                <a:sym typeface="Wingdings 2" pitchFamily="18" charset="2"/>
              </a:rPr>
              <a:t></a:t>
            </a:r>
            <a:endParaRPr lang="en-US" sz="4800" dirty="0">
              <a:solidFill>
                <a:srgbClr val="166DA2"/>
              </a:solidFill>
            </a:endParaRPr>
          </a:p>
        </p:txBody>
      </p:sp>
      <p:sp>
        <p:nvSpPr>
          <p:cNvPr id="13" name="TextBox 12"/>
          <p:cNvSpPr txBox="1">
            <a:spLocks noChangeArrowheads="1"/>
          </p:cNvSpPr>
          <p:nvPr/>
        </p:nvSpPr>
        <p:spPr bwMode="auto">
          <a:xfrm>
            <a:off x="6705600" y="4579938"/>
            <a:ext cx="609600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800" dirty="0">
                <a:solidFill>
                  <a:srgbClr val="166DA2"/>
                </a:solidFill>
                <a:sym typeface="Wingdings 2" pitchFamily="18" charset="2"/>
              </a:rPr>
              <a:t></a:t>
            </a:r>
            <a:endParaRPr lang="en-US" sz="4800" dirty="0">
              <a:solidFill>
                <a:srgbClr val="166DA2"/>
              </a:solidFill>
            </a:endParaRPr>
          </a:p>
        </p:txBody>
      </p:sp>
      <p:sp>
        <p:nvSpPr>
          <p:cNvPr id="14" name="TextBox 13"/>
          <p:cNvSpPr txBox="1">
            <a:spLocks noChangeArrowheads="1"/>
          </p:cNvSpPr>
          <p:nvPr/>
        </p:nvSpPr>
        <p:spPr bwMode="auto">
          <a:xfrm>
            <a:off x="5688013" y="3860801"/>
            <a:ext cx="609600" cy="830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800" dirty="0">
                <a:solidFill>
                  <a:srgbClr val="166DA2"/>
                </a:solidFill>
                <a:sym typeface="Wingdings 2" pitchFamily="18" charset="2"/>
              </a:rPr>
              <a:t></a:t>
            </a:r>
            <a:endParaRPr lang="en-US" sz="4800" dirty="0">
              <a:solidFill>
                <a:srgbClr val="166DA2"/>
              </a:solidFill>
            </a:endParaRPr>
          </a:p>
        </p:txBody>
      </p:sp>
      <p:sp>
        <p:nvSpPr>
          <p:cNvPr id="15" name="TextBox 14"/>
          <p:cNvSpPr txBox="1">
            <a:spLocks noChangeArrowheads="1"/>
          </p:cNvSpPr>
          <p:nvPr/>
        </p:nvSpPr>
        <p:spPr bwMode="auto">
          <a:xfrm>
            <a:off x="4800600" y="3173413"/>
            <a:ext cx="60960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800" dirty="0">
                <a:solidFill>
                  <a:srgbClr val="166DA2"/>
                </a:solidFill>
                <a:sym typeface="Wingdings 2" pitchFamily="18" charset="2"/>
              </a:rPr>
              <a:t></a:t>
            </a:r>
            <a:endParaRPr lang="en-US" sz="4800" dirty="0">
              <a:solidFill>
                <a:srgbClr val="166DA2"/>
              </a:solidFill>
            </a:endParaRPr>
          </a:p>
        </p:txBody>
      </p:sp>
      <p:sp>
        <p:nvSpPr>
          <p:cNvPr id="16" name="TextBox 15"/>
          <p:cNvSpPr txBox="1">
            <a:spLocks noChangeArrowheads="1"/>
          </p:cNvSpPr>
          <p:nvPr/>
        </p:nvSpPr>
        <p:spPr bwMode="auto">
          <a:xfrm>
            <a:off x="3684588" y="2389188"/>
            <a:ext cx="60960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800" dirty="0">
                <a:solidFill>
                  <a:srgbClr val="166DA2"/>
                </a:solidFill>
                <a:sym typeface="Wingdings 2" pitchFamily="18" charset="2"/>
              </a:rPr>
              <a:t></a:t>
            </a:r>
            <a:endParaRPr lang="en-US" sz="4800" dirty="0">
              <a:solidFill>
                <a:srgbClr val="166DA2"/>
              </a:solidFill>
            </a:endParaRPr>
          </a:p>
        </p:txBody>
      </p:sp>
      <p:sp>
        <p:nvSpPr>
          <p:cNvPr id="17" name="TextBox 16"/>
          <p:cNvSpPr txBox="1">
            <a:spLocks noChangeArrowheads="1"/>
          </p:cNvSpPr>
          <p:nvPr/>
        </p:nvSpPr>
        <p:spPr bwMode="auto">
          <a:xfrm>
            <a:off x="2389188" y="1490663"/>
            <a:ext cx="609600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r>
              <a:rPr lang="en-US" sz="4800" dirty="0">
                <a:solidFill>
                  <a:srgbClr val="166DA2"/>
                </a:solidFill>
                <a:sym typeface="Wingdings 2" pitchFamily="18" charset="2"/>
              </a:rPr>
              <a:t></a:t>
            </a:r>
            <a:endParaRPr lang="en-US" sz="4800" dirty="0">
              <a:solidFill>
                <a:srgbClr val="166DA2"/>
              </a:solidFill>
            </a:endParaRPr>
          </a:p>
        </p:txBody>
      </p:sp>
      <p:sp>
        <p:nvSpPr>
          <p:cNvPr id="22" name="Right Arrow 21"/>
          <p:cNvSpPr/>
          <p:nvPr/>
        </p:nvSpPr>
        <p:spPr>
          <a:xfrm rot="12925463">
            <a:off x="4330700" y="2203451"/>
            <a:ext cx="4332288" cy="650875"/>
          </a:xfrm>
          <a:prstGeom prst="rightArrow">
            <a:avLst/>
          </a:prstGeom>
          <a:solidFill>
            <a:srgbClr val="9EC92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en-US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8770938" y="2636839"/>
            <a:ext cx="12954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>
                <a:solidFill>
                  <a:prstClr val="black"/>
                </a:solidFill>
                <a:latin typeface="Calibri"/>
                <a:cs typeface="Arial" charset="0"/>
              </a:rPr>
              <a:t>humor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2144713" y="5419726"/>
            <a:ext cx="1649412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>
                <a:solidFill>
                  <a:prstClr val="black"/>
                </a:solidFill>
                <a:latin typeface="Calibri"/>
                <a:cs typeface="Arial" charset="0"/>
              </a:rPr>
              <a:t>cohesion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2427289" y="4302125"/>
            <a:ext cx="2116137" cy="9540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>
                <a:solidFill>
                  <a:prstClr val="black"/>
                </a:solidFill>
                <a:latin typeface="Calibri"/>
                <a:cs typeface="Arial" charset="0"/>
              </a:rPr>
              <a:t>analogy and abstractions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560764" y="5934075"/>
            <a:ext cx="1495425" cy="522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>
                <a:solidFill>
                  <a:prstClr val="black"/>
                </a:solidFill>
                <a:latin typeface="Calibri"/>
                <a:cs typeface="Arial" charset="0"/>
              </a:rPr>
              <a:t>lectures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4697413" y="4792664"/>
            <a:ext cx="1295400" cy="5238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>
                <a:solidFill>
                  <a:prstClr val="black"/>
                </a:solidFill>
                <a:latin typeface="Calibri"/>
                <a:cs typeface="Arial" charset="0"/>
              </a:rPr>
              <a:t>culture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2155825" y="2554289"/>
            <a:ext cx="1295400" cy="5222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>
                <a:solidFill>
                  <a:prstClr val="black"/>
                </a:solidFill>
                <a:latin typeface="Calibri"/>
                <a:cs typeface="Arial" charset="0"/>
              </a:rPr>
              <a:t>formal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129339" y="1041400"/>
            <a:ext cx="1863725" cy="9540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>
                <a:solidFill>
                  <a:prstClr val="black"/>
                </a:solidFill>
                <a:latin typeface="Calibri"/>
                <a:cs typeface="Arial" charset="0"/>
              </a:rPr>
              <a:t>textbook language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7227888" y="2292350"/>
            <a:ext cx="1458912" cy="522288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>
                <a:solidFill>
                  <a:prstClr val="black"/>
                </a:solidFill>
                <a:latin typeface="Calibri"/>
                <a:cs typeface="Arial" charset="0"/>
              </a:rPr>
              <a:t>reading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902575" y="1338264"/>
            <a:ext cx="2635250" cy="9540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>
                <a:solidFill>
                  <a:prstClr val="black"/>
                </a:solidFill>
                <a:latin typeface="Calibri"/>
                <a:cs typeface="Arial" charset="0"/>
              </a:rPr>
              <a:t>non-verbal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>
                <a:solidFill>
                  <a:prstClr val="black"/>
                </a:solidFill>
                <a:latin typeface="Calibri"/>
                <a:cs typeface="Arial" charset="0"/>
              </a:rPr>
              <a:t>communication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2541588" y="3221039"/>
            <a:ext cx="1458912" cy="9540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>
                <a:solidFill>
                  <a:prstClr val="black"/>
                </a:solidFill>
                <a:latin typeface="Calibri"/>
                <a:cs typeface="Arial" charset="0"/>
              </a:rPr>
              <a:t>written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>
                <a:solidFill>
                  <a:prstClr val="black"/>
                </a:solidFill>
                <a:latin typeface="Calibri"/>
                <a:cs typeface="Arial" charset="0"/>
              </a:rPr>
              <a:t>text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5319714" y="5491164"/>
            <a:ext cx="2300287" cy="9540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>
                <a:solidFill>
                  <a:prstClr val="black"/>
                </a:solidFill>
                <a:latin typeface="Calibri"/>
                <a:cs typeface="Arial" charset="0"/>
              </a:rPr>
              <a:t>specialized terminology</a:t>
            </a:r>
          </a:p>
        </p:txBody>
      </p:sp>
      <p:grpSp>
        <p:nvGrpSpPr>
          <p:cNvPr id="38" name="Group 37"/>
          <p:cNvGrpSpPr>
            <a:grpSpLocks/>
          </p:cNvGrpSpPr>
          <p:nvPr/>
        </p:nvGrpSpPr>
        <p:grpSpPr bwMode="auto">
          <a:xfrm rot="-663136">
            <a:off x="8120063" y="3660775"/>
            <a:ext cx="2557462" cy="1487488"/>
            <a:chOff x="6708551" y="3760830"/>
            <a:chExt cx="2558445" cy="1487341"/>
          </a:xfrm>
          <a:solidFill>
            <a:srgbClr val="FFC000"/>
          </a:solidFill>
        </p:grpSpPr>
        <p:sp>
          <p:nvSpPr>
            <p:cNvPr id="37" name="Double Wave 36"/>
            <p:cNvSpPr/>
            <p:nvPr/>
          </p:nvSpPr>
          <p:spPr>
            <a:xfrm rot="20753096">
              <a:off x="6708055" y="3759606"/>
              <a:ext cx="2480628" cy="1487341"/>
            </a:xfrm>
            <a:prstGeom prst="doubleWave">
              <a:avLst/>
            </a:prstGeom>
            <a:solidFill>
              <a:srgbClr val="FFC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1" name="TextBox 20"/>
            <p:cNvSpPr txBox="1"/>
            <p:nvPr/>
          </p:nvSpPr>
          <p:spPr>
            <a:xfrm rot="20735401">
              <a:off x="6804266" y="3936297"/>
              <a:ext cx="2461571" cy="1107965"/>
            </a:xfrm>
            <a:prstGeom prst="rect">
              <a:avLst/>
            </a:prstGeom>
            <a:grpFill/>
          </p:spPr>
          <p:txBody>
            <a:bodyPr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2200" b="1" dirty="0">
                  <a:solidFill>
                    <a:srgbClr val="F79646">
                      <a:lumMod val="75000"/>
                    </a:srgbClr>
                  </a:solidFill>
                  <a:latin typeface="Segoe Print" pitchFamily="2" charset="0"/>
                  <a:cs typeface="Arial" charset="0"/>
                </a:rPr>
                <a:t>basic, social &amp; day-to-day communic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1420897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75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75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75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 nodeType="clickPar">
                      <p:stCondLst>
                        <p:cond delay="indefinite"/>
                      </p:stCondLst>
                      <p:childTnLst>
                        <p:par>
                          <p:cTn id="17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75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 nodeType="afterGroup">
                            <p:stCondLst>
                              <p:cond delay="750"/>
                            </p:stCondLst>
                            <p:childTnLst>
                              <p:par>
                                <p:cTn id="2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 nodeType="afterGroup">
                            <p:stCondLst>
                              <p:cond delay="125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 nodeType="afterGroup">
                            <p:stCondLst>
                              <p:cond delay="175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 nodeType="afterGroup">
                            <p:stCondLst>
                              <p:cond delay="225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 nodeType="afterGroup">
                            <p:stCondLst>
                              <p:cond delay="2750"/>
                            </p:stCondLst>
                            <p:childTnLst>
                              <p:par>
                                <p:cTn id="4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 nodeType="afterGroup">
                            <p:stCondLst>
                              <p:cond delay="3250"/>
                            </p:stCondLst>
                            <p:childTnLst>
                              <p:par>
                                <p:cTn id="4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 nodeType="afterGroup">
                            <p:stCondLst>
                              <p:cond delay="375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8" fill="hold" nodeType="afterGroup">
                            <p:stCondLst>
                              <p:cond delay="4250"/>
                            </p:stCondLst>
                            <p:childTnLst>
                              <p:par>
                                <p:cTn id="5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2" fill="hold" nodeType="withGroup">
                            <p:stCondLst>
                              <p:cond delay="4750"/>
                            </p:stCondLst>
                            <p:childTnLst>
                              <p:par>
                                <p:cTn id="6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75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6" fill="hold" nodeType="afterGroup">
                            <p:stCondLst>
                              <p:cond delay="5500"/>
                            </p:stCondLst>
                            <p:childTnLst>
                              <p:par>
                                <p:cTn id="6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75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0" fill="hold" nodeType="afterGroup">
                            <p:stCondLst>
                              <p:cond delay="6250"/>
                            </p:stCondLst>
                            <p:childTnLst>
                              <p:par>
                                <p:cTn id="7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3" dur="75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4" fill="hold" nodeType="afterGroup">
                            <p:stCondLst>
                              <p:cond delay="7000"/>
                            </p:stCondLst>
                            <p:childTnLst>
                              <p:par>
                                <p:cTn id="7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75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8" fill="hold" nodeType="afterGroup">
                            <p:stCondLst>
                              <p:cond delay="7750"/>
                            </p:stCondLst>
                            <p:childTnLst>
                              <p:par>
                                <p:cTn id="7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75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  <p:bldP spid="15" grpId="0"/>
      <p:bldP spid="16" grpId="0"/>
      <p:bldP spid="17" grpId="0"/>
      <p:bldP spid="22" grpId="0" animBg="1"/>
      <p:bldP spid="23" grpId="0"/>
      <p:bldP spid="26" grpId="0"/>
      <p:bldP spid="27" grpId="0"/>
      <p:bldP spid="28" grpId="0"/>
      <p:bldP spid="29" grpId="0"/>
      <p:bldP spid="30" grpId="0"/>
      <p:bldP spid="31" grpId="0"/>
      <p:bldP spid="32" grpId="0"/>
      <p:bldP spid="33" grpId="0"/>
      <p:bldP spid="34" grpId="0"/>
      <p:bldP spid="35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elearningexperts.files.wordpress.com/2012/07/chalkboard_wood_blac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914400"/>
            <a:ext cx="8420100" cy="429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://www.vacancesfrancaises.com/573-1419-thickbox/chalkboard-eraser-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1" y="4581192"/>
            <a:ext cx="942975" cy="75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Y:\Media\Shadowfax\Marketing\moved to Nurn\corporate branding\powerpoint\corporate\Core Presentation PPT 8.12\Images for PPT\OrangeTeach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810000"/>
            <a:ext cx="1054100" cy="291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8991601" y="4769194"/>
            <a:ext cx="1575265" cy="1880869"/>
            <a:chOff x="-609600" y="3429000"/>
            <a:chExt cx="2284593" cy="25739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09600" y="3429000"/>
              <a:ext cx="2284593" cy="257393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400" y="3936723"/>
              <a:ext cx="838200" cy="62865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362576" y="4920864"/>
            <a:ext cx="1586935" cy="1651594"/>
            <a:chOff x="2079391" y="3429000"/>
            <a:chExt cx="2236369" cy="257393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91" y="3429000"/>
              <a:ext cx="2236369" cy="257393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3600" y="3886200"/>
              <a:ext cx="855845" cy="663599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7413484" y="5269707"/>
            <a:ext cx="1371600" cy="1461631"/>
            <a:chOff x="7438553" y="3445866"/>
            <a:chExt cx="2284593" cy="2573934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8553" y="3445866"/>
              <a:ext cx="2284593" cy="257393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3806" y="3936723"/>
              <a:ext cx="821853" cy="621446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2590800" y="1273076"/>
            <a:ext cx="67818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trategy fourteen: </a:t>
            </a:r>
          </a:p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Use sentence frames to give student practice with academic language</a:t>
            </a:r>
            <a:endParaRPr lang="en-US" sz="2800" dirty="0">
              <a:solidFill>
                <a:prstClr val="white">
                  <a:lumMod val="95000"/>
                </a:prstClr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ctangle 24">
            <a:hlinkClick r:id="" action="ppaction://noaction"/>
          </p:cNvPr>
          <p:cNvSpPr/>
          <p:nvPr/>
        </p:nvSpPr>
        <p:spPr>
          <a:xfrm>
            <a:off x="1524000" y="1"/>
            <a:ext cx="1981200" cy="1205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2903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lue squiggly line bckgrnd.png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24000" y="1"/>
            <a:ext cx="9150350" cy="68580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8590" y="248956"/>
            <a:ext cx="8587963" cy="6456644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466334" y="2045253"/>
            <a:ext cx="731520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600" b="1" dirty="0">
                <a:solidFill>
                  <a:prstClr val="white"/>
                </a:solidFill>
                <a:latin typeface="Calibri"/>
              </a:rPr>
              <a:t>What do you see as your role in the classroom? 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2181724" y="3497300"/>
            <a:ext cx="759981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b="1" dirty="0">
                <a:solidFill>
                  <a:prstClr val="white"/>
                </a:solidFill>
              </a:rPr>
              <a:t>Discuss with your neighbor. </a:t>
            </a:r>
            <a:r>
              <a:rPr lang="en-US" sz="4000" b="1" dirty="0">
                <a:solidFill>
                  <a:prstClr val="white"/>
                </a:solidFill>
                <a:latin typeface="Calibri"/>
              </a:rPr>
              <a:t>You will have three minutes to complete the activity. </a:t>
            </a:r>
            <a:endParaRPr lang="en-US" sz="28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2032860" y="609600"/>
            <a:ext cx="7973881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prstClr val="white"/>
                </a:solidFill>
                <a:latin typeface="Segoe Print" panose="02000600000000000000" pitchFamily="2" charset="0"/>
              </a:rPr>
              <a:t>Activity Two: </a:t>
            </a:r>
          </a:p>
          <a:p>
            <a:pPr algn="ctr"/>
            <a:r>
              <a:rPr lang="en-US" sz="2800" b="1" dirty="0">
                <a:solidFill>
                  <a:prstClr val="white"/>
                </a:solidFill>
                <a:latin typeface="Segoe Print" panose="02000600000000000000" pitchFamily="2" charset="0"/>
              </a:rPr>
              <a:t>Roles of the ESL Teacher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28618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5" grpId="0"/>
      <p:bldP spid="16" grpId="0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5771" y="1"/>
            <a:ext cx="9144000" cy="6855621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0"/>
            <a:ext cx="9144000" cy="685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3" name="Object 2">
            <a:extLst>
              <a:ext uri="{FF2B5EF4-FFF2-40B4-BE49-F238E27FC236}">
                <a16:creationId xmlns:a16="http://schemas.microsoft.com/office/drawing/2014/main" xmlns="" id="{C11B05F1-782B-418A-BE66-D9D9A876377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68586540"/>
              </p:ext>
            </p:extLst>
          </p:nvPr>
        </p:nvGraphicFramePr>
        <p:xfrm>
          <a:off x="1914525" y="325580"/>
          <a:ext cx="12649200" cy="91613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Acrobat Document" r:id="rId5" imgW="7543652" imgH="5829300" progId="AcroExch.Document.11">
                  <p:embed/>
                </p:oleObj>
              </mc:Choice>
              <mc:Fallback>
                <p:oleObj name="Acrobat Document" r:id="rId5" imgW="7543652" imgH="5829300" progId="AcroExch.Document.1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14525" y="325580"/>
                        <a:ext cx="12649200" cy="91613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62865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0099" y="4760"/>
            <a:ext cx="9144000" cy="685324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438400" y="381001"/>
            <a:ext cx="7162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prstClr val="black"/>
                </a:solidFill>
                <a:latin typeface="Calibri"/>
              </a:rPr>
              <a:t>ELL Teacher VS. General Ed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3800" y="1288804"/>
            <a:ext cx="6265069" cy="4280390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1960034" y="1256808"/>
            <a:ext cx="2057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/>
              </a:rPr>
              <a:t>Teach Vocabular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960034" y="1708667"/>
            <a:ext cx="162136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/>
              </a:rPr>
              <a:t>Bridge Cultural Gap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1943102" y="2354998"/>
            <a:ext cx="18287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/>
              </a:rPr>
              <a:t>Social Emotional Developmen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1960034" y="3069989"/>
            <a:ext cx="167639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/>
              </a:rPr>
              <a:t>Address Cultural need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1943102" y="3720110"/>
            <a:ext cx="17526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/>
              </a:rPr>
              <a:t>Teach Grammar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1926166" y="4724400"/>
            <a:ext cx="226906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/>
              </a:rPr>
              <a:t>Student Engagemen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943103" y="4089442"/>
            <a:ext cx="20573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/>
              </a:rPr>
              <a:t>Provide rigo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960034" y="5199862"/>
            <a:ext cx="30691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/>
              </a:rPr>
              <a:t>Differentiate Instructio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960034" y="5606534"/>
            <a:ext cx="367876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prstClr val="black"/>
                </a:solidFill>
                <a:latin typeface="Calibri"/>
              </a:rPr>
              <a:t>Provide a supportive environment</a:t>
            </a:r>
          </a:p>
        </p:txBody>
      </p:sp>
      <p:sp>
        <p:nvSpPr>
          <p:cNvPr id="15" name="AutoShape 2" descr="data:image/jpeg;base64,/9j/4AAQSkZJRgABAQAAAQABAAD/2wCEAAkGBxMTEhUUEhQUFRQWFBUYFRUXGBoXFxcUFBYYGBcVFRUYHSogGBwlHBcXITEhJSkrLi4uFx8zODMsNygtLisBCgoKDg0OGxAQGy8kICUsLC0sLDQsNywsNCwsNCwsLDQsLCwsNCwsLCwsLDQsLCw0LDQsLCwsLCwsLCwsLCwsLP/AABEIAMUA/wMBEQACEQEDEQH/xAAbAAEAAgMBAQAAAAAAAAAAAAAAAQUDBAYCB//EAD8QAAECAgUICAQFBAIDAAAAAAEAAgMRBAUhMVESQVJhcZGh8AYTFiIygbHRI0LB4RQVM1NyYoKy8ZKiJDTC/8QAGwEBAAIDAQEAAAAAAAAAAAAAAAQGAQMFAgf/xABDEQABAgMEBQsDAwIDCAMAAAAAAQIDBBEFITFREkFhcZEGExQVMoGhscHR8CJS4SMzQqLxJGKCFjRTcpLC0uIlNUP/2gAMAwEAAhEDEQA/ALdkJpY50/CCXDuzIDgCQXPaAAHNNzjYbLl3I8xEhRKUupVPVPmaFasmzJedgu0qo9FpWt196XUUwPbIkGUwSM2Y2qa1dJEVNZX3N0XKi6iBLmS9Hm4IZNuqqKIsVrCZA33YLVGerGK5CTKQWxoqMU6jslC0ncFzenvyO91NA2jsnC0ncE6e/IdTQc1HZOFpO4J09+Q6mgZqOycLSdwTp78h1NAzUdk4Wk7gnT35DqaBtHZOFpOTp78h1NAzUdk4Wk7gnT35DqaBmo7JQtJ3BOnvyHU0DaOycLSdwTp78h1NBzUdk4Wk7gnT35DqaBmo7JwtJ3BOnvyHU0DaOycLScnT35DqaBmo7JwtJ3BOnvyHU0HNR2ThaTuCdPfkOpoGajsnC0ncE6e/IdTQM1HZOFpOTp78h1NBzUdk4Wk7gnT35DqaBmpB6JQtJ3BOnvyC2NA2k9k4Wk7gnT35DqaDmo7JwtJ3BOnvyHU0DNR2ThaTuCdPfkOpoG0jsnC0ncE6e/IdTQNpydMhZD3NFsiRm1rqMdpNRSux4aMiOamow85l7NNws5khm6o5zakMAc3algzd8obdDiRA14hkA5ImHAkSiPDGGY15dmeVtk1yrQcldyL88C38nIWjAfFfgq0T/SlV8zXjOm5xtkXE585XTY3RajckoVOI5XOVc1VTxbzPUvR4vX4oQXln0c/9hl9/02KPNftKT7Mr0lp9BXDLeEAQBAEAQBAEAQBAEAQBAEAQBAEAQBAEAQEID5tWn60T+RVgg/toUmb/AH37zWt18VsuNF5FvM0MX/KkyQXoQPPmWpBihtUWlNhtiOLi12Q3IAa4mIWPc4wzkznMPsBEpk2rk2ixVXFEqmK4J81l15PuSLJrCyctdyolF8+Bgjw8lxG7GRtE7L10JaPz8JsWlKoU+YgczFWHWtFPEuZbFuNWiJc7lkUN2paQ2HGa51gF+5aZhivhqiEqRiNhR2ufch1/5/A/c4LldEiZFl6xl1/mPz+B+5w+ydEiZDrGX+8yQK4hvMmOc4/0tn6BaYzUgJWKqN3rQ2wppkZaQ1VdyVNvrto2yXDj29JQbtKu780OgyWiu2GN9Ll8w4LnP5VQf4Q1XvVPQ3JIu1r4Hj8d/WOC1/7Tv1QF8fY9dBX7iW03+pvBE5Voi0fBp3r/AOPqYWRdqd4HsUk6/KSmQeU8i/tVbvSvktfA1Ok4iYLUwxq1Yzxl7dZbZvlJd2VmIE3+w9rlyrfwW/wIUeJzF8RFRM6XccDD2ggfucFO6JF+0idZS/3gV/A/c4J0SL9pnrGXX+ZP59A/c4fZOixMh1hA+4j8/gfucPsnRIv2jrGX+82YFPD7W5ZGOTIbzYufMTUCX/deibK1XglaEuC5Y17EXhTzMro+v0+i4sblLJsubVfneTWycRcVMRpo028FDXlSi9iCq96/+Js6C7W7wI/Hf1jgsLynemMBeK+xnoK/d4HptLnnB2SXpnKyD/8ApCVNy180Q8rIu1O8D0aVK/K8gCulA5QSEVaaeiu1PVKp4mh8tFbqruNWJXkFpk55acC2R4hd6DC55unCVHJmi1TwOdEnIUJdGIqou1KeZ5/P4H7nBbeiRftNfWMv95P5/A/c4J0WJkZ6wl/uOJp7w6I9wuJMrF14aK1iIpVplUfFc5utTXPPHUthouJlzJYqZ0RLVzYgoQeeZLJhUoe2PIuJGyevBeXNa7tJU9Nc5vZVU4+hHOdZMUX5UiXNqCigDm1ZMUEuZHBDNF+VNug1dEjHuCwXuMw0X3k+gXPnrTlpJmlGdTZr+bVohMlLPjzTqQ0uz1cfap0FA6PwwbQYz8LmDaJ+p8lSpjlNPz7lZIMo37vz7UXeWuV5PS0D6o66S7cOGvvqdDAqx0pEtY3RYPrcNxUNlhRYy6c3FVVXFE9V1nXSKyGmjDbd81G0yrIYvGV/Ik8LuC6cGx5KF2Yad9/meFjvXWbDIDRc1o2ABdBsNjbmoiGtXKuKmRezB5dDBvAO0LCtRcUMoqoa76vhn5AP493/ABUKNZkpF7cNOFPI9pGems14tV6LvJwmN4+640xyZguvgOVq8U9za2ZX+SFDWVQMM8phhnSZ4Ttzb5LEK07asn9z9WGmf1ePaTvu2EGYsmSm70TRdmly96YL5nOU+qYkK0jKbpCfEZlcbJ5TSVoUYi6D/tX0XBfBdhVZ+xZiV+pPqbmnqmrxTaZ6DUD3jKifDZ/V4iNTc20rxanKiUkvpaum7JMOOvuu1VQ2SNgx5ijon0t8eGrv4HR1bUzGyMKFM/uRPUTHoFVos1bFqYrzbF7vDX313lol7Nk5S9Eq7PFfx3ULhlVz8bydQ7o9+K9QeTsul8ZyvXatE+d5LWYX+KUNhlAhD5GnWe8d5XWhSEtC7ENE7jWsV64qZ2sAuAClIiJga6nqSyDFEo7HXtadoBWt8GG9KOai70qekcqYKYH1ZDN027D9DZwXNj2JJRcWUXZd+DYkd6azSpdUEiRDYgwcJH2PBcl1gTMs7nJKKqLvovFMe+49uiQordGK1FTihzVP6OifwyWO0HTl5ZxttCnSvK6dk3pCtGHVPuRKL/4u8N5xZvk5BippSztFcsU908dxQUmjPhnJe0g+cjsIvV8kbQlp2Hzku9HJ4pvTFCpTUlGlnaEZtMsl3LrMUubVNI1BLm1YM3/KiXNqCi1AHNqyYEuZHUsGaL8qQebtepZMfPlw3cNSC75QWauCC5Bu4eyC75/YvaqqKYD48w0+GH8zp3TkJgahaVT7a5Ttl15iU+qIuV/DPfhki4pZbLsFYtIsxc3LX35Js8tfYUSrSQMoZDBdDbZZrIu2DeuBL2NEjv5+fdpOW/Rrd35r8qpatNkJuhCSiJ8uLOHDDRJoAGAsViYxrE0WpRDQqqt6ntejAQBAEAQBAEBDiJW3Ly97WNq7AyiVwKaK1pfkwm25wPCNZzNVHm5VloTNJNlFTF2Df77vHVNa5WNq9SIGS1/xWkkY25OuVx2pZ0RkhMqydZ9S4PW/4m3Ey9Fe36FLoGdyvKKipVCASsgIAgCAIAgCAxxoLXCTgCObjmWqNBhxm6EREVNp6a5WrVCnrKqQWkEZbMD4hsx9VV5iyJiQidJs9yoqatf/ALJsXxNzlhTDFhxkRUXh+N5xda1QYXeb3oeNk27bLRrVtsDlRCtBUgRvoi5anbsl2cK6qfathvlaxIV7PFN+abeOZW2cy9lazgXa/QizVwQXYjdw9kGIHN3sg+aid/HWgJ38yWDNdhHOfVqWRfQ6OoqoycmJEE3GXVw/RzhjnAzXlUXlBbz3P6DJXuW5V+as8/8Al7VtsWxkSkxMJuTLau3JNW/DsqFQsnvPtfwbqb7rRZllslE03fVEXF3tsO/Fi6VyYG6usaQgCAIAgCAIAgIc6VpXh72sarnYIZRK3FXFiOiuyWWAeJ2GoYnnbWHPjWtFVjF0YSYrnsTbmvC7tSkRsJKriWFHgNYJNHuTiTnKskCBDgMSHDSiIRnOVy1Uik0YPEjfmOcLVOSUKbh83FTcutNxlj1YtUK+BGdCdku8PPeb9RyazKzUayY3R5i+GvZXL5rTVim2S5rYrdJuJagztCuCKipVCGSsgIAgCAIAgCAICvp9AnNzRbnbmd9/VV+17FSY/WgXRE7q/nJeJIhRqfS7A4Ouqq6vvs8E7RoHZh6Lr8meUazS9Em7oqYKt2lTP/Mnjvxq1tWPzFY8BPp1plu2eW7CpAPM/ZXMrSV+f2J38fZAvz5QjfxWTFSOc2vUgu+f2J5zIPmouOj1XBx6147jDYLDlOGzMPtiqpyntpZOFzEL9x/gi+q+CZKqKWGwrM6RE56In0tw2r7J57lQ7yrqIR33+M5tEYbcfsuPZNm9FZpxL4jsV9ELZGiaVyYG8uwaQgCAIAgCAIAgCArKZGL3CGzPnwGdx5zqsTkZ9oTHRYK/SnaXZ+dWzfdKY1IbdJxv0eAGNDW3DeTnJ1qxQIDIENIcNKIhHc5XLVTItp5CAw0qjh4kb8xwKiTslDm4SwoncuS5ntj1YtUNGgRyx3VvxkNRw2HMuBY83ElYyyEzinZX03Lq4EiMxHJptLRWoiBAEAQBAEAQBAEBW1pQwQXATs74xGKrduWWsROlQLntvuxWmvenzUSYMROw7A+d1vQOpfL5HTLTZ/xVu5OW2lpy1XfuNucmeSpsXwWuwo9s2b0ONVqfQ7DZs9thpS55CsJxwbv9eyBcPnsejzxWDJlotHdEeGNnNxlO2y4k+QmVHm5pktAdGfg1OOSd63EiWl3x4yQmYqvDP3PoNUUMTAA+HCkBrffM7L9pGC+a2Wx8/NPn419/078+7VlhqPoug2Xgtgsy8PyXatBoCAIAgCAIAgCAIDVrCkZDTzYuPbM70eDot7Trk+bfKtMDdBZpOIq6j5LZu8brXasG+XqSt1lyPRYNHdpb3Lt/BiM/SW7BDbXSNQQBAEBo1pR5jKF4v1t+1+9cC3pBY0Ln4fbZftp+MU/JIl4lF0VwUy0CkZbbfELD7+am2VPJOSyRNaXLv/OJ4is0HGyukaggCAIAgCAIAgCA5rpDVYc0txtYcHDNzmKqEVzrEtJs1DT9N2KbF7SeqbdxsmJds7LOhOx1LkupffZU4KRuN4MjqIImF9XhxGxGI9i1RURUXYuB83exzHqx1yotF3kjz5kvRg8z5361k81Oi6L0WQdFlae4wazKe8yG9ULljOOiOhyMLF1699ycErXehb+TUoiI6YduTcmPzYd5RYGQwNwvOJNpPmVLloDYEJsJuCJQ7T3aTlUyreeQgCAIAgCAIAgCAq/1Yw0W94+XhG+3yKq8v/j7RWKvYh4b9XvvJa/pw6a1+KWitBECAIAgCAICpg/CjSzGzyPh42eaqMp/8dajoH8ImHp41QmP/UhaWtPilsrcQwgCAIAgCAIAgCA16dBymHEWjaOZLnWpJpNyzoevFN6e+HebIT9F1T5z0ko2RFDx4Ygn/cL+Ck8irRWPJrLP7UNf6Vw4LVOBWeUspzcZI6YOx3p7p5KVQHPJVzK1j8/JJ54ohlT6BUNDyeqZoMynfyP3JPkvlkrE6wteLMrg2tO+5v8AT5H0mXg9GlGQtdL9+K+J0StB4CAIAgCAIAgCAIDDS3yad29QbSj8xKvfspxu/J7htq5DXqhndLs7nE+QsHoT5qHYMDm5RHLi9dJe/DwNkw6rqZG8u0aAgCAIAgCArq3hWBw2fUHf6qscpYKpDZMtxYvn+U8STLOvVqm7R4uU1rsQD551YZeKkaE2ImtEXiaHN0XKhkW48hAEAQBAEAQBAEBx3TCifDfL5CHjZn4TVZsx/V/KDQ/jEu/6r0/quNVrQekSDs2/V/04+FTjZr6ifPVNir4WXFY3F4wuBmeAKgWpHWBJRYiYo1ab6UTxJlnwkizUNv8AmTwvPpVUN8bsXAeQE/VxVA5NQ6S7on3OXgh9EmVvRCxVjIwQBAEAQBAEAQBAV9cRJN3ncPuq1yliLzTISYuX8epJlkvVTco8PJa1uAA3BWGFDSGxGJqRE4Edy1VVMi2GAgCAIAgCAwU1k2O2T3W/Rc+1YPOycRv+VV4X+hshLR6GCqHdwjBxG/vfVROT0XnJFqZKqevqe5hKPN5ds0BAEAQBAEAQBAEBUV7BmP5NcDz5qo8o6wY8CZbii+SoqepKgIj2qxcF9bj5iwWSOaYzZl9Ya9HojkwW/ifMIjNBysXUqpq1FpUDZ0hmrKOfRd7qu8q4mhZUWmvRT+pp17BbpTzFyqvgqep9EqkfD2ud/kR9FwLCZoyEPvXxUukdfrU3V1zSEAQBAEAQBAEAQFXWtrmjW3i4BVa2frn5dm1PP8EqBcxylorSRQgCAIAgCAICHiYI1Ly9uk1UMpcpW1MfGP4neCPoqzyWd+g9uTvT8EmaS9CzVoIoQBAEAQBAEAQBAaNajuj+X0KrXKhlZRrsnJ5KSJZfqU+XRmkRIgwiOxxX0Cyn6chAcutjfJD5/aTFZORUT7l8Vqb/AEc/9hv8Xem1cflj/wDUv3t80JnJ3/fk3KfRar/SG13+RXKsf/cYW4uMftqba6RqCAIAgCAIAgCAICrrH9Vm2H/mqrad1rS+5PNSXC/ad3lorURAgCAIAgCAIAgKyqPE/Yz/AOlVuTOEZf8AMnqSpnV3lmrSRQgCAIAgCAIAgCA0608A/kPQqv8AKX/cv9Sepvl+2fLaafixf5nBXaw0/wDjYH/I3yKHbC/42LvNqpHyjw9pGfO132UTlTC5yyYyJqRF4ORfI22G/RnodddU8FPo9Un4csHO4mf1Vb5Pv0pBmyqeJd5hPrN1dk0BAEAQBAEAQBAEBV1vY5pwkf8Ai4FVW3v05yXi7fJU9yXL3tVC0VqIgQBAEAQBAEB5iGQJwBWuM/QhucupFUy1KrQr6nb4zrA3Cf1Ve5MMpLvXN3kiEiZW9CyVlIwQBAEAQBAEAQBAaNau7o2z3D7qs8qH0lmtzd6L7kmWT6lPlcQzc84vcc+kvotnQualILMmNTwQ+d2g/TmYrs3O8z3AiZL2u0XA+QNvBepyX6RLxIP3NVOKUNcrF5mOyJk5F8b/AAPplTvtcMZOHmJH0C+aclov6USCuKLXjd6H0mZTBSzVqIoQBAEAQBAEAQBAaFbw5tG2R2Ef6Vb5TwldKpET+Lk4Ld50JMstHUNmiRMpjTiBPbn4ruSsbnoDImaIpoe3RcqGZSDyEAQBAEAQGCmukw67PfguZbEVIcm9V1pTjj4VNkJKvQw1S34c9Ik+U5DgAvFiQVhyTEXFb+N56jrV5urrGkIAgCAIAgCAIAgKTpLSchjjosJ38hVW2WdKnoEqmtUTit/giEhj0hQnRV1Iq8EPmsEWCfM5a19VwuQ+ZOWq1U9HnjqQ84ncdGKbNkNxN3cd6T35JXyuND6tt57MGxL0/wBV6cHXH0az43SZFrsVRKLvbd4pedWrSZCAIAgCAIAgCAIDFSYeU0jVZtzcVFnZdJiXfCzTx1eJ7Y7RcimpVEWwtwMxsd9571xuTUyr5dYLsWL4L+am6ZbRdIsFYyMEAQBAEAQFbW0Q2NF5kBtdYFWbeesaJDlG4uW/5sStd6EmXSlXKWEJgaA0XAADYFZGNRjUamCXEdVqtT0vRgIAgCAIAgCAIAi3A4bpvTe6GC97v+o5AXB5PQ+nWw+ZXsw0Wm9bk8PFCJbkfmJLQ1uu7sV9u85UDnkL6SUT58uJPPFDC0Lbo3S8mIYZufdqcPcegVJ5a2csWWbNw+1Dx/5V9l81LPyanEZFdAdg69N6e6eR9EoMfLYJ3ix20Z/O/wA1qsycSblmxNeC70x9yyRWaDqGwugawgCAIAgCAIAgCAqY/wAKLlZjb5HxbjaqhML1baiRf4RMfXgt/eTG/qQ6a0LYK3kMIAgCAICHGQmvL3oxqudghlErcVtFHWRS43M/yI+g9Qq3ZTFmpt82/BLm79fBLiTFXQYjU1lmrMRQgCAIAgCAIAgCA1qdFyW7fRci2pxJeWXNbvf2766jbBZpOPl9b0zro7nfK3ut8jad6sHJizlk5Bqv7b/qd34J3J4qpT7enEjzSsav0suTfrXjd3GqVYjhrSlxJ8+IxWDJMyDYSCDMG2+YkbQvMSGyIxWPSqKlFTYuJ6Y90NyOatFRapv4HddH61Dmh/8AbEGBGf67CvlDWPsK0nS8T9t2C7NS92C/2PpErMNnpdIrcdaZLrT1TuOnCt5rCAIAgCAIAgCAIDXpsDLbZeLR7ea51qSKTkusPXim/wDOBshP0HVNeq6RMZBvF2zDaFz7BtBYsNZeL22Xdye2CmyPDoukmssFYSOEAQBAV9ZUj5W2uJkBiebf9Ku2xNPiObKQe0754Y79ykiCxO0uBtUSBkNDb8TiTeV2pSWZLQWwmYIhqe9XOqZlIPAQBAEAQBAEAQEOMl5e5GtVzsECJU47phW+S3Jae++wahnKr9nSy2zaWm9P0od67V1J79+w1WlOJJS1UX63XJ6r3edDjYbJADnNqX00+fXnqXNurUsCny8S5s1rJgc3BAmw2qtpxgvyha02PGIxFt4muHb1jMtSW0MHpexduS7F19y6jq2VaKyUaq9he16Km1PI+hVRT2kATm0+A7fl9tyo9j2k+C/oM19Lm3JXyX0z4F7iNa9vOQ1qi3/ktlaSMEAQBAEAQBAEAQFbWNHIPWNsznUdL3/2qxbMhEhxEnpbtNxTPb77CVBiIqaDjaodJDxgRePqNS61m2jDnYWm25UxTJfbI0xIasU2F0TWEBr0ykhgJmuZaVoNlYd3aXBPngbYcNXqYKvoxn1j/EfCD8rTjrPOdaLJkHQkWPG/cd4Jl7nqNERfpbgb67RoCAIAgCAIAgCAIClr6tmwmEk2DicwCrM9MRZ+OkjKXquK6kTNdifnI3K5kCGsaKtET5xPm8aO6K8xH3m4YDMF9CsyzoVnyzZeFgmK5rrX5qKBPzz5yMsR25EyT54iXNinkEiWzgguJlzbr1IKfPiE28zWLjP1LiQOeGpBenz8G9VFZmCZGboZvFpyZ5xZw5NY5R8nWWkznYd0VMFz2L6Lq13Yd2x7XdKO5uJexfDamzNO9NvfVZWYc0TdNpuf7+6qVnWy+C9ZWe+lzbqr/wB3vr8S5Ohte1IkO9Fy9C2CtRGCAIAgCAIAgCAICqpVFMM5bLh/1xszt9PSpz9mRpOL0yS/1N87taZpq1bJcOIj00H/AD8m5RKYH6nYfUYrsWbasGdbdc7W32zQ0xISs3Cl0trBesWhakOWTRS9y4J81/F1VQ4SuNai0UvOXEGtrD/k7Xq5Eaz7NiOidKmu3qTL8/N3uJERE0WFku8RwgCAIAgCAIAgIJWHORqVXAFPXVcshMJJkOJ1AKuTU9GnYvQ5JKuXHYma5J8XI3LzcFixYq0RPnE+d0+mvjvy32NHhbgMTrV1sWxYVmQqJ9T3dp2a7NnnipSLUtR86+65iYJ6rt8uKmIDnkLsnKoqfPwOfTUgX58oOc+pZFVQc5kMDnMgHNwQDnMgNigU98EzYZtN7DcdmBXEtiwZa1GfWlHpg5Me/NNnCh1bOtaNJLTFutvtkvmdlUtfteJNO2G68bOZKgP6ysJ+hHbpwtS6u5dW5fyXaXmpeebpQlv1prTenr4nQwKW11xkcDf913pK1JabT9N1+S3L+e4PhObiZ10TWEAQBAEAQBAeXxALytMaPDgpV60Mo1VwOerWnQYXfJyBOfn/AEgZ9ipUxC6dNotnMXTreqYb1XBONNpKdFbAhq6M5ETb8v8AMyVfSobiIk8sfKQZhuuWKSE0yRmXJPQ1R+aph3ZbUPS/qw0WEqKi5a+8vIcQOEwQVdoMeHGbpw3IqbCG5qtWintbTAQBAEAQBAEBhjUlrc6503acvLJVy3/Pmew2NhuccvXvSlrO63vPzNGbacy5svLWjbTqsTm4X3L/ANqa12+KYGmbnpaRT61q77Ux78vlynGUmO+K7LiGZzDMNgV9syypazoXNwG711rvX0wKTPWjGnH6T1u1ImCfMzzLmzWuiQCebhrQaxzmQES5sQaiTzxQyOfTUsDG/wCeR6YwkyAJOAH2RVRMT0jXOWiX/Nxk/DP0XbivOm3M98xF+1SPwz9B27VsTTbmOYi/avD8EOoj7w1wIuIBBGwgLy/m3tVr6Ki4ot6cD2yHGY7SYioqa0/sWlDrakMsex0RuMiHDhaqdaPI6Tjrpyr+bdli33T5cWOTt6ZZ9MwxXJmiUX2XwOgoPSRpsLnNOjEBHE+64L5e3bOxTnGprT6//ZO87sKclJjBaLkv0r43L3FzBrUHMDrBmsQ+U7EXRjQ1RdnstCQssupTO2nM1jy9l0GW/Iu/lTuX0qa1gPPf4tmPA+y3pbEmv8/BfY88y/Ig0xmPPmvLrbkm/wA/BfUzzL8jFErFo+9ihReUks3sIq/NlT2ku5Sqp3SaGz5hPBtp3BeGTNqz10tBVEzX6U4r6Ka4sSXgfuPTdivBL/A5yn9Io75iFDcBpOB4BdSV5IrFXTtCNpf5Wrd3rr4V2nImreVqUloa71TyT89xQRGlxyohL3Yn6CViucrKwJWHzcBiNbknrmVSZmo0w/SiuVV+YJqMlGivhunDcWnAXHaJWrVPWdKzzNCYYjk1LrTcuKHuTnpiVdWC7u1L3HQ0LpBEb+rDeDpsB4i9Uaa5Hxpd3OWdG7lWi8UuXvRC2y1vNemjMQ1btRKpwxTxOgofSBrrnNdqPddz5LnutG1ZG6bg1TOn/clW+B1YfMR0rCci/MsSyh1k03g8CpELlNKu7aK3gv58DKyzkwMoprMeBU5tuSTsH+C+x4WC/In8WzHgfZbOt5P7/BfYxzT8jy6msxWh9vSTf5V+baHpIDzWj1u1ucDaVCdyja9dGAxXLur4fk9pL0SrlKOn9K23MyohwYCRvuW2HI21aHaRITV+67+nHineRI0/KQNekuTUr44eJzlOrKlRszobTmAOVLW6SsFn8lpGWdzkdedfm7DuT3qcGctqbipowWqxP6uOru4mgyguHyO3H2Vp02YIqFfdCiqtVRVPZoz9F2460025mOYi/apP4V+i7d9k025jmIn2rw/Bic0i+zb/AKXpFqa1RWrfd83EDnghgA87lmhio59daAE88lAqp8/uXfREfH/tP01qHPftnWse+P3Hb5IwC41S0UQnJGASoohGSMAlRRCckYBKiiGOJAa69oPkso5UCtRTTiVPDNwydlnovMVsOKlIrUdvRF8w1Fb2VVNy0MRqh3yxXjzmoESx7OidqCndVPJTakeMn8vBPY8/lkX907gtP+z9l/8AC/qX3PXSY/3JwQflLzfFd5WLYyxLMZhBTvVV9TysxHX+Xgnse21Gz5i520qdCgS8H9qG1u5ErxxNble7tOVe824NAhtuaNy3rEcuKnlGNTBDNFYMk2C4ry1VqHIlFPmMbxO2n661Y24IUWJ213r8xM9W/qs/kPrrWuL2FN0pTn27/ms+k5IwCr9VLrRDBGoMN17RuXpIjk1mFY1dRquqZvyuc3YSo0WUlY18SE1e5K8cT218RvZcvExmqn5orvNQnWFZjsYPBV9zYkxHT+XgnsR+WRf3TuC8/wCz9l/8L+pfcdJj/d4ISKnJ8UV581Ih2TZ8PswW99/nU8rGjLi9fLyMsKpYQvGVttU9ithpSG1GpsSnkanN0r3LXfebsOjtbc0DyRXKplGohkyRgFioohGSMAlVFEJyRgEqKIMkYJUUQ+fdIh/5D9vOdd2V/aQqFpp/iHfPUreebVIIAnr53oK5/PEb+ZrBknnOhmpd9Ef1/wC0qHO/tnVshU5/uO065uk3eFyNFcizaTcx1zdJu8JorkNJuY65uk3eE0VyGk3Mdc3SbvCaK5DSbmOubpN3hNFchpNzHXN0m7wmiuQ0m5jrm6Td4TRXIaTcx1zdJu8JorkNJuY65uk3eE0VyGk3Mdc3SbvCaK5DSbmOubpN3hNFchpNzPMSK0gycDYc4wWURamFcipifNY3idtKsLcEKREX613marT8WHf4gvEXsKbJRf12bz6OYrdJu8LgaK5F10kzI65uk3eE0VyGk3Mdc3SbvCaK5GNJuY65uk3eE0VyGk3Mdc3SbvCaK5DSbmOubpN3hNFchpNzHXN0m7wmiuQ0m5jrm6Td4TRXIaTcx1zdJu8JorkNJuY65uk3eE0VyGk3Mdc3SbvCaK5GdJuZPWt0m7wmiuQ0kzOB6RH/AMh+1duV/aQqNpL/AIlxWT2qSQKg+fFDCrdcSWc71ip60STD2cy1pUKyhsUKkPguy2ETAw+61xGNiJouN8CK+Xcr2LeWXaWkYjco/QoRO62mNg7SUjSbu1TTocLIz1rMbOA7SUjFu5OhwjCWtMKlbh2lpE727k6HCHW0xXVwA6SUizvNt1J0OFkZS1ZhaYcAOklI0m7k6HCMJa0xhdwB6S0jFu7nBOhwgtrTCJW4dpaRiN21OhQh1tMVpcSeklI0m7k6HCyMraswmXADpHSLO823V906HCCWrMLTDgeR0mj4jds91noUI89bzFK3B3SOOQe8245tiJJwkUytqzCouGGRTuZfdnPNqlVOWrVVV4kwyWuBF4tHl5rC0clFPTKw3IqYpeXHaWkYjdt9lF6FCOl1tMbAeklIxbu2e6dDhBbWmErhwB6SUi3vNs1fdOhwjK2rMJXDgO0tIxG5OhwjHW0xsHaSkaTd2qadDhZGetZjZwJ7SUjFu5OhwjCWtMLfcQektIne3cnQ4Q62mK6gOklIs7zbdSdDhBLVmFphwA6SUjSbu+6dDhGUtWY2cAektIxbuToUIwtrTCJqHaWkYi7DanQoQ62mK0uJPSSkaTdydDhGVtWYTLgVVJiOiPynETdq+6ksRGN0UOfFc6M/Tct6mDJ52kL2aKXVEOBrntGxYrQ983U//9k="/>
          <p:cNvSpPr>
            <a:spLocks noChangeAspect="1" noChangeArrowheads="1"/>
          </p:cNvSpPr>
          <p:nvPr/>
        </p:nvSpPr>
        <p:spPr bwMode="auto">
          <a:xfrm>
            <a:off x="1679575" y="-2117725"/>
            <a:ext cx="5715000" cy="441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600977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8601" y="-864"/>
            <a:ext cx="9192591" cy="685324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2438400" y="381001"/>
            <a:ext cx="716280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dirty="0">
                <a:solidFill>
                  <a:prstClr val="black"/>
                </a:solidFill>
                <a:latin typeface="Calibri"/>
              </a:rPr>
              <a:t>ELL Teacher VS. General Ed.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3470" y="1302600"/>
            <a:ext cx="8373530" cy="4807278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334001" y="1961607"/>
            <a:ext cx="17216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/>
              </a:rPr>
              <a:t>Teach Vocabulary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5334001" y="2269384"/>
            <a:ext cx="17216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/>
              </a:rPr>
              <a:t>Bridge Cultural Gap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886948" y="2597427"/>
            <a:ext cx="261578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/>
              </a:rPr>
              <a:t>Social Emotional Developmen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007984" y="2905203"/>
            <a:ext cx="221224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/>
              </a:rPr>
              <a:t>Address Cultural Needs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143500" y="3208365"/>
            <a:ext cx="1752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/>
              </a:rPr>
              <a:t>Teach Grammar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5037665" y="3749310"/>
            <a:ext cx="22690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/>
              </a:rPr>
              <a:t>Student Engagement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143501" y="3453734"/>
            <a:ext cx="205739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/>
              </a:rPr>
              <a:t>Provide rigor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4660255" y="4057087"/>
            <a:ext cx="306916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/>
              </a:rPr>
              <a:t>Differentiate Instruction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4886949" y="4409453"/>
            <a:ext cx="241978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dirty="0">
                <a:solidFill>
                  <a:prstClr val="black"/>
                </a:solidFill>
                <a:latin typeface="Calibri"/>
              </a:rPr>
              <a:t>Provide a supportive environment</a:t>
            </a:r>
          </a:p>
        </p:txBody>
      </p:sp>
      <p:sp>
        <p:nvSpPr>
          <p:cNvPr id="15" name="AutoShape 2" descr="data:image/jpeg;base64,/9j/4AAQSkZJRgABAQAAAQABAAD/2wCEAAkGBxMTEhUUEhQUFRQWFBUYFRUXGBoXFxcUFBYYGBcVFRUYHSogGBwlHBcXITEhJSkrLi4uFx8zODMsNygtLisBCgoKDg0OGxAQGy8kICUsLC0sLDQsNywsNCwsNCwsLDQsLCwsNCwsLCwsLDQsLCw0LDQsLCwsLCwsLCwsLCwsLP/AABEIAMUA/wMBEQACEQEDEQH/xAAbAAEAAgMBAQAAAAAAAAAAAAAAAQUDBAYCB//EAD8QAAECAgUICAQFBAIDAAAAAAEAAgMRBAUhMVESQVJhcZGh8AYTFiIygbHRI0LB4RQVM1NyYoKy8ZKiJDTC/8QAGwEBAAIDAQEAAAAAAAAAAAAAAAQGAQMFAgf/xABDEQABAgMEBQsDAwIDCAMAAAAAAQIDBBEFITFREkFhcZEGExQVMoGhscHR8CJS4SMzQqLxJGKCFjRTcpLC0uIlNUP/2gAMAwEAAhEDEQA/ALdkJpY50/CCXDuzIDgCQXPaAAHNNzjYbLl3I8xEhRKUupVPVPmaFasmzJedgu0qo9FpWt196XUUwPbIkGUwSM2Y2qa1dJEVNZX3N0XKi6iBLmS9Hm4IZNuqqKIsVrCZA33YLVGerGK5CTKQWxoqMU6jslC0ncFzenvyO91NA2jsnC0ncE6e/IdTQc1HZOFpO4J09+Q6mgZqOycLSdwTp78h1NAzUdk4Wk7gnT35DqaBtHZOFpOTp78h1NAzUdk4Wk7gnT35DqaBmo7JQtJ3BOnvyHU0DaOycLSdwTp78h1NBzUdk4Wk7gnT35DqaBmo7JwtJ3BOnvyHU0DaOycLScnT35DqaBmo7JwtJ3BOnvyHU0HNR2ThaTuCdPfkOpoGajsnC0ncE6e/IdTQM1HZOFpOTp78h1NBzUdk4Wk7gnT35DqaBmpB6JQtJ3BOnvyC2NA2k9k4Wk7gnT35DqaDmo7JwtJ3BOnvyHU0DNR2ThaTuCdPfkOpoG0jsnC0ncE6e/IdTQNpydMhZD3NFsiRm1rqMdpNRSux4aMiOamow85l7NNws5khm6o5zakMAc3algzd8obdDiRA14hkA5ImHAkSiPDGGY15dmeVtk1yrQcldyL88C38nIWjAfFfgq0T/SlV8zXjOm5xtkXE585XTY3RajckoVOI5XOVc1VTxbzPUvR4vX4oQXln0c/9hl9/02KPNftKT7Mr0lp9BXDLeEAQBAEAQBAEAQBAEAQBAEAQBAEAQBAEAQEID5tWn60T+RVgg/toUmb/AH37zWt18VsuNF5FvM0MX/KkyQXoQPPmWpBihtUWlNhtiOLi12Q3IAa4mIWPc4wzkznMPsBEpk2rk2ixVXFEqmK4J81l15PuSLJrCyctdyolF8+Bgjw8lxG7GRtE7L10JaPz8JsWlKoU+YgczFWHWtFPEuZbFuNWiJc7lkUN2paQ2HGa51gF+5aZhivhqiEqRiNhR2ufch1/5/A/c4LldEiZFl6xl1/mPz+B+5w+ydEiZDrGX+8yQK4hvMmOc4/0tn6BaYzUgJWKqN3rQ2wppkZaQ1VdyVNvrto2yXDj29JQbtKu780OgyWiu2GN9Ll8w4LnP5VQf4Q1XvVPQ3JIu1r4Hj8d/WOC1/7Tv1QF8fY9dBX7iW03+pvBE5Voi0fBp3r/AOPqYWRdqd4HsUk6/KSmQeU8i/tVbvSvktfA1Ok4iYLUwxq1Yzxl7dZbZvlJd2VmIE3+w9rlyrfwW/wIUeJzF8RFRM6XccDD2ggfucFO6JF+0idZS/3gV/A/c4J0SL9pnrGXX+ZP59A/c4fZOixMh1hA+4j8/gfucPsnRIv2jrGX+82YFPD7W5ZGOTIbzYufMTUCX/deibK1XglaEuC5Y17EXhTzMro+v0+i4sblLJsubVfneTWycRcVMRpo028FDXlSi9iCq96/+Js6C7W7wI/Hf1jgsLynemMBeK+xnoK/d4HptLnnB2SXpnKyD/8ApCVNy180Q8rIu1O8D0aVK/K8gCulA5QSEVaaeiu1PVKp4mh8tFbqruNWJXkFpk55acC2R4hd6DC55unCVHJmi1TwOdEnIUJdGIqou1KeZ5/P4H7nBbeiRftNfWMv95P5/A/c4J0WJkZ6wl/uOJp7w6I9wuJMrF14aK1iIpVplUfFc5utTXPPHUthouJlzJYqZ0RLVzYgoQeeZLJhUoe2PIuJGyevBeXNa7tJU9Nc5vZVU4+hHOdZMUX5UiXNqCigDm1ZMUEuZHBDNF+VNug1dEjHuCwXuMw0X3k+gXPnrTlpJmlGdTZr+bVohMlLPjzTqQ0uz1cfap0FA6PwwbQYz8LmDaJ+p8lSpjlNPz7lZIMo37vz7UXeWuV5PS0D6o66S7cOGvvqdDAqx0pEtY3RYPrcNxUNlhRYy6c3FVVXFE9V1nXSKyGmjDbd81G0yrIYvGV/Ik8LuC6cGx5KF2Yad9/meFjvXWbDIDRc1o2ABdBsNjbmoiGtXKuKmRezB5dDBvAO0LCtRcUMoqoa76vhn5AP493/ABUKNZkpF7cNOFPI9pGems14tV6LvJwmN4+640xyZguvgOVq8U9za2ZX+SFDWVQMM8phhnSZ4Ttzb5LEK07asn9z9WGmf1ePaTvu2EGYsmSm70TRdmly96YL5nOU+qYkK0jKbpCfEZlcbJ5TSVoUYi6D/tX0XBfBdhVZ+xZiV+pPqbmnqmrxTaZ6DUD3jKifDZ/V4iNTc20rxanKiUkvpaum7JMOOvuu1VQ2SNgx5ijon0t8eGrv4HR1bUzGyMKFM/uRPUTHoFVos1bFqYrzbF7vDX313lol7Nk5S9Eq7PFfx3ULhlVz8bydQ7o9+K9QeTsul8ZyvXatE+d5LWYX+KUNhlAhD5GnWe8d5XWhSEtC7ENE7jWsV64qZ2sAuAClIiJga6nqSyDFEo7HXtadoBWt8GG9KOai70qekcqYKYH1ZDN027D9DZwXNj2JJRcWUXZd+DYkd6azSpdUEiRDYgwcJH2PBcl1gTMs7nJKKqLvovFMe+49uiQordGK1FTihzVP6OifwyWO0HTl5ZxttCnSvK6dk3pCtGHVPuRKL/4u8N5xZvk5BippSztFcsU908dxQUmjPhnJe0g+cjsIvV8kbQlp2Hzku9HJ4pvTFCpTUlGlnaEZtMsl3LrMUubVNI1BLm1YM3/KiXNqCi1AHNqyYEuZHUsGaL8qQebtepZMfPlw3cNSC75QWauCC5Bu4eyC75/YvaqqKYD48w0+GH8zp3TkJgahaVT7a5Ttl15iU+qIuV/DPfhki4pZbLsFYtIsxc3LX35Js8tfYUSrSQMoZDBdDbZZrIu2DeuBL2NEjv5+fdpOW/Rrd35r8qpatNkJuhCSiJ8uLOHDDRJoAGAsViYxrE0WpRDQqqt6ntejAQBAEAQBAEBDiJW3Ly97WNq7AyiVwKaK1pfkwm25wPCNZzNVHm5VloTNJNlFTF2Df77vHVNa5WNq9SIGS1/xWkkY25OuVx2pZ0RkhMqydZ9S4PW/4m3Ey9Fe36FLoGdyvKKipVCASsgIAgCAIAgCAxxoLXCTgCObjmWqNBhxm6EREVNp6a5WrVCnrKqQWkEZbMD4hsx9VV5iyJiQidJs9yoqatf/ALJsXxNzlhTDFhxkRUXh+N5xda1QYXeb3oeNk27bLRrVtsDlRCtBUgRvoi5anbsl2cK6qfathvlaxIV7PFN+abeOZW2cy9lazgXa/QizVwQXYjdw9kGIHN3sg+aid/HWgJ38yWDNdhHOfVqWRfQ6OoqoycmJEE3GXVw/RzhjnAzXlUXlBbz3P6DJXuW5V+as8/8Al7VtsWxkSkxMJuTLau3JNW/DsqFQsnvPtfwbqb7rRZllslE03fVEXF3tsO/Fi6VyYG6usaQgCAIAgCAIAgIc6VpXh72sarnYIZRK3FXFiOiuyWWAeJ2GoYnnbWHPjWtFVjF0YSYrnsTbmvC7tSkRsJKriWFHgNYJNHuTiTnKskCBDgMSHDSiIRnOVy1Uik0YPEjfmOcLVOSUKbh83FTcutNxlj1YtUK+BGdCdku8PPeb9RyazKzUayY3R5i+GvZXL5rTVim2S5rYrdJuJagztCuCKipVCGSsgIAgCAIAgCAICvp9AnNzRbnbmd9/VV+17FSY/WgXRE7q/nJeJIhRqfS7A4Ouqq6vvs8E7RoHZh6Lr8meUazS9Em7oqYKt2lTP/Mnjvxq1tWPzFY8BPp1plu2eW7CpAPM/ZXMrSV+f2J38fZAvz5QjfxWTFSOc2vUgu+f2J5zIPmouOj1XBx6147jDYLDlOGzMPtiqpyntpZOFzEL9x/gi+q+CZKqKWGwrM6RE56In0tw2r7J57lQ7yrqIR33+M5tEYbcfsuPZNm9FZpxL4jsV9ELZGiaVyYG8uwaQgCAIAgCAIAgCArKZGL3CGzPnwGdx5zqsTkZ9oTHRYK/SnaXZ+dWzfdKY1IbdJxv0eAGNDW3DeTnJ1qxQIDIENIcNKIhHc5XLVTItp5CAw0qjh4kb8xwKiTslDm4SwoncuS5ntj1YtUNGgRyx3VvxkNRw2HMuBY83ElYyyEzinZX03Lq4EiMxHJptLRWoiBAEAQBAEAQBAEBW1pQwQXATs74xGKrduWWsROlQLntvuxWmvenzUSYMROw7A+d1vQOpfL5HTLTZ/xVu5OW2lpy1XfuNucmeSpsXwWuwo9s2b0ONVqfQ7DZs9thpS55CsJxwbv9eyBcPnsejzxWDJlotHdEeGNnNxlO2y4k+QmVHm5pktAdGfg1OOSd63EiWl3x4yQmYqvDP3PoNUUMTAA+HCkBrffM7L9pGC+a2Wx8/NPn419/078+7VlhqPoug2Xgtgsy8PyXatBoCAIAgCAIAgCAIDVrCkZDTzYuPbM70eDot7Trk+bfKtMDdBZpOIq6j5LZu8brXasG+XqSt1lyPRYNHdpb3Lt/BiM/SW7BDbXSNQQBAEBo1pR5jKF4v1t+1+9cC3pBY0Ln4fbZftp+MU/JIl4lF0VwUy0CkZbbfELD7+am2VPJOSyRNaXLv/OJ4is0HGyukaggCAIAgCAIAgCA5rpDVYc0txtYcHDNzmKqEVzrEtJs1DT9N2KbF7SeqbdxsmJds7LOhOx1LkupffZU4KRuN4MjqIImF9XhxGxGI9i1RURUXYuB83exzHqx1yotF3kjz5kvRg8z5361k81Oi6L0WQdFlae4wazKe8yG9ULljOOiOhyMLF1699ycErXehb+TUoiI6YduTcmPzYd5RYGQwNwvOJNpPmVLloDYEJsJuCJQ7T3aTlUyreeQgCAIAgCAIAgCAq/1Yw0W94+XhG+3yKq8v/j7RWKvYh4b9XvvJa/pw6a1+KWitBECAIAgCAICpg/CjSzGzyPh42eaqMp/8dajoH8ImHp41QmP/UhaWtPilsrcQwgCAIAgCAIAgCA16dBymHEWjaOZLnWpJpNyzoevFN6e+HebIT9F1T5z0ko2RFDx4Ygn/cL+Ck8irRWPJrLP7UNf6Vw4LVOBWeUspzcZI6YOx3p7p5KVQHPJVzK1j8/JJ54ohlT6BUNDyeqZoMynfyP3JPkvlkrE6wteLMrg2tO+5v8AT5H0mXg9GlGQtdL9+K+J0StB4CAIAgCAIAgCAIDDS3yad29QbSj8xKvfspxu/J7htq5DXqhndLs7nE+QsHoT5qHYMDm5RHLi9dJe/DwNkw6rqZG8u0aAgCAIAgCArq3hWBw2fUHf6qscpYKpDZMtxYvn+U8STLOvVqm7R4uU1rsQD551YZeKkaE2ImtEXiaHN0XKhkW48hAEAQBAEAQBAEBx3TCifDfL5CHjZn4TVZsx/V/KDQ/jEu/6r0/quNVrQekSDs2/V/04+FTjZr6ifPVNir4WXFY3F4wuBmeAKgWpHWBJRYiYo1ab6UTxJlnwkizUNv8AmTwvPpVUN8bsXAeQE/VxVA5NQ6S7on3OXgh9EmVvRCxVjIwQBAEAQBAEAQBAV9cRJN3ncPuq1yliLzTISYuX8epJlkvVTco8PJa1uAA3BWGFDSGxGJqRE4Edy1VVMi2GAgCAIAgCAwU1k2O2T3W/Rc+1YPOycRv+VV4X+hshLR6GCqHdwjBxG/vfVROT0XnJFqZKqevqe5hKPN5ds0BAEAQBAEAQBAEBUV7BmP5NcDz5qo8o6wY8CZbii+SoqepKgIj2qxcF9bj5iwWSOaYzZl9Ya9HojkwW/ifMIjNBysXUqpq1FpUDZ0hmrKOfRd7qu8q4mhZUWmvRT+pp17BbpTzFyqvgqep9EqkfD2ud/kR9FwLCZoyEPvXxUukdfrU3V1zSEAQBAEAQBAEAQFXWtrmjW3i4BVa2frn5dm1PP8EqBcxylorSRQgCAIAgCAICHiYI1Ly9uk1UMpcpW1MfGP4neCPoqzyWd+g9uTvT8EmaS9CzVoIoQBAEAQBAEAQBAaNajuj+X0KrXKhlZRrsnJ5KSJZfqU+XRmkRIgwiOxxX0Cyn6chAcutjfJD5/aTFZORUT7l8Vqb/AEc/9hv8Xem1cflj/wDUv3t80JnJ3/fk3KfRar/SG13+RXKsf/cYW4uMftqba6RqCAIAgCAIAgCAICrrH9Vm2H/mqrad1rS+5PNSXC/ad3lorURAgCAIAgCAIAgKyqPE/Yz/AOlVuTOEZf8AMnqSpnV3lmrSRQgCAIAgCAIAgCA0608A/kPQqv8AKX/cv9Sepvl+2fLaafixf5nBXaw0/wDjYH/I3yKHbC/42LvNqpHyjw9pGfO132UTlTC5yyYyJqRF4ORfI22G/RnodddU8FPo9Un4csHO4mf1Vb5Pv0pBmyqeJd5hPrN1dk0BAEAQBAEAQBAEBV1vY5pwkf8Ai4FVW3v05yXi7fJU9yXL3tVC0VqIgQBAEAQBAEB5iGQJwBWuM/QhucupFUy1KrQr6nb4zrA3Cf1Ve5MMpLvXN3kiEiZW9CyVlIwQBAEAQBAEAQBAaNau7o2z3D7qs8qH0lmtzd6L7kmWT6lPlcQzc84vcc+kvotnQualILMmNTwQ+d2g/TmYrs3O8z3AiZL2u0XA+QNvBepyX6RLxIP3NVOKUNcrF5mOyJk5F8b/AAPplTvtcMZOHmJH0C+aclov6USCuKLXjd6H0mZTBSzVqIoQBAEAQBAEAQBAaFbw5tG2R2Ef6Vb5TwldKpET+Lk4Ld50JMstHUNmiRMpjTiBPbn4ruSsbnoDImaIpoe3RcqGZSDyEAQBAEAQGCmukw67PfguZbEVIcm9V1pTjj4VNkJKvQw1S34c9Ik+U5DgAvFiQVhyTEXFb+N56jrV5urrGkIAgCAIAgCAIAgKTpLSchjjosJ38hVW2WdKnoEqmtUTit/giEhj0hQnRV1Iq8EPmsEWCfM5a19VwuQ+ZOWq1U9HnjqQ84ncdGKbNkNxN3cd6T35JXyuND6tt57MGxL0/wBV6cHXH0az43SZFrsVRKLvbd4pedWrSZCAIAgCAIAgCAIDFSYeU0jVZtzcVFnZdJiXfCzTx1eJ7Y7RcimpVEWwtwMxsd9571xuTUyr5dYLsWL4L+am6ZbRdIsFYyMEAQBAEAQFbW0Q2NF5kBtdYFWbeesaJDlG4uW/5sStd6EmXSlXKWEJgaA0XAADYFZGNRjUamCXEdVqtT0vRgIAgCAIAgCAIAi3A4bpvTe6GC97v+o5AXB5PQ+nWw+ZXsw0Wm9bk8PFCJbkfmJLQ1uu7sV9u85UDnkL6SUT58uJPPFDC0Lbo3S8mIYZufdqcPcegVJ5a2csWWbNw+1Dx/5V9l81LPyanEZFdAdg69N6e6eR9EoMfLYJ3ix20Z/O/wA1qsycSblmxNeC70x9yyRWaDqGwugawgCAIAgCAIAgCAqY/wAKLlZjb5HxbjaqhML1baiRf4RMfXgt/eTG/qQ6a0LYK3kMIAgCAICHGQmvL3oxqudghlErcVtFHWRS43M/yI+g9Qq3ZTFmpt82/BLm79fBLiTFXQYjU1lmrMRQgCAIAgCAIAgCA1qdFyW7fRci2pxJeWXNbvf2766jbBZpOPl9b0zro7nfK3ut8jad6sHJizlk5Bqv7b/qd34J3J4qpT7enEjzSsav0suTfrXjd3GqVYjhrSlxJ8+IxWDJMyDYSCDMG2+YkbQvMSGyIxWPSqKlFTYuJ6Y90NyOatFRapv4HddH61Dmh/8AbEGBGf67CvlDWPsK0nS8T9t2C7NS92C/2PpErMNnpdIrcdaZLrT1TuOnCt5rCAIAgCAIAgCAIDXpsDLbZeLR7ea51qSKTkusPXim/wDOBshP0HVNeq6RMZBvF2zDaFz7BtBYsNZeL22Xdye2CmyPDoukmssFYSOEAQBAV9ZUj5W2uJkBiebf9Ku2xNPiObKQe0754Y79ykiCxO0uBtUSBkNDb8TiTeV2pSWZLQWwmYIhqe9XOqZlIPAQBAEAQBAEAQEOMl5e5GtVzsECJU47phW+S3Jae++wahnKr9nSy2zaWm9P0od67V1J79+w1WlOJJS1UX63XJ6r3edDjYbJADnNqX00+fXnqXNurUsCny8S5s1rJgc3BAmw2qtpxgvyha02PGIxFt4muHb1jMtSW0MHpexduS7F19y6jq2VaKyUaq9he16Km1PI+hVRT2kATm0+A7fl9tyo9j2k+C/oM19Lm3JXyX0z4F7iNa9vOQ1qi3/ktlaSMEAQBAEAQBAEAQFbWNHIPWNsznUdL3/2qxbMhEhxEnpbtNxTPb77CVBiIqaDjaodJDxgRePqNS61m2jDnYWm25UxTJfbI0xIasU2F0TWEBr0ykhgJmuZaVoNlYd3aXBPngbYcNXqYKvoxn1j/EfCD8rTjrPOdaLJkHQkWPG/cd4Jl7nqNERfpbgb67RoCAIAgCAIAgCAIClr6tmwmEk2DicwCrM9MRZ+OkjKXquK6kTNdifnI3K5kCGsaKtET5xPm8aO6K8xH3m4YDMF9CsyzoVnyzZeFgmK5rrX5qKBPzz5yMsR25EyT54iXNinkEiWzgguJlzbr1IKfPiE28zWLjP1LiQOeGpBenz8G9VFZmCZGboZvFpyZ5xZw5NY5R8nWWkznYd0VMFz2L6Lq13Yd2x7XdKO5uJexfDamzNO9NvfVZWYc0TdNpuf7+6qVnWy+C9ZWe+lzbqr/wB3vr8S5Ohte1IkO9Fy9C2CtRGCAIAgCAIAgCAICqpVFMM5bLh/1xszt9PSpz9mRpOL0yS/1N87taZpq1bJcOIj00H/AD8m5RKYH6nYfUYrsWbasGdbdc7W32zQ0xISs3Cl0trBesWhakOWTRS9y4J81/F1VQ4SuNai0UvOXEGtrD/k7Xq5Eaz7NiOidKmu3qTL8/N3uJERE0WFku8RwgCAIAgCAIAgIJWHORqVXAFPXVcshMJJkOJ1AKuTU9GnYvQ5JKuXHYma5J8XI3LzcFixYq0RPnE+d0+mvjvy32NHhbgMTrV1sWxYVmQqJ9T3dp2a7NnnipSLUtR86+65iYJ6rt8uKmIDnkLsnKoqfPwOfTUgX58oOc+pZFVQc5kMDnMgHNwQDnMgNigU98EzYZtN7DcdmBXEtiwZa1GfWlHpg5Me/NNnCh1bOtaNJLTFutvtkvmdlUtfteJNO2G68bOZKgP6ysJ+hHbpwtS6u5dW5fyXaXmpeebpQlv1prTenr4nQwKW11xkcDf913pK1JabT9N1+S3L+e4PhObiZ10TWEAQBAEAQBAeXxALytMaPDgpV60Mo1VwOerWnQYXfJyBOfn/AEgZ9ipUxC6dNotnMXTreqYb1XBONNpKdFbAhq6M5ETb8v8AMyVfSobiIk8sfKQZhuuWKSE0yRmXJPQ1R+aph3ZbUPS/qw0WEqKi5a+8vIcQOEwQVdoMeHGbpw3IqbCG5qtWintbTAQBAEAQBAEBhjUlrc6503acvLJVy3/Pmew2NhuccvXvSlrO63vPzNGbacy5svLWjbTqsTm4X3L/ANqa12+KYGmbnpaRT61q77Ux78vlynGUmO+K7LiGZzDMNgV9syypazoXNwG711rvX0wKTPWjGnH6T1u1ImCfMzzLmzWuiQCebhrQaxzmQES5sQaiTzxQyOfTUsDG/wCeR6YwkyAJOAH2RVRMT0jXOWiX/Nxk/DP0XbivOm3M98xF+1SPwz9B27VsTTbmOYi/avD8EOoj7w1wIuIBBGwgLy/m3tVr6Ki4ot6cD2yHGY7SYioqa0/sWlDrakMsex0RuMiHDhaqdaPI6Tjrpyr+bdli33T5cWOTt6ZZ9MwxXJmiUX2XwOgoPSRpsLnNOjEBHE+64L5e3bOxTnGprT6//ZO87sKclJjBaLkv0r43L3FzBrUHMDrBmsQ+U7EXRjQ1RdnstCQssupTO2nM1jy9l0GW/Iu/lTuX0qa1gPPf4tmPA+y3pbEmv8/BfY88y/Ig0xmPPmvLrbkm/wA/BfUzzL8jFErFo+9ihReUks3sIq/NlT2ku5Sqp3SaGz5hPBtp3BeGTNqz10tBVEzX6U4r6Ka4sSXgfuPTdivBL/A5yn9Io75iFDcBpOB4BdSV5IrFXTtCNpf5Wrd3rr4V2nImreVqUloa71TyT89xQRGlxyohL3Yn6CViucrKwJWHzcBiNbknrmVSZmo0w/SiuVV+YJqMlGivhunDcWnAXHaJWrVPWdKzzNCYYjk1LrTcuKHuTnpiVdWC7u1L3HQ0LpBEb+rDeDpsB4i9Uaa5Hxpd3OWdG7lWi8UuXvRC2y1vNemjMQ1btRKpwxTxOgofSBrrnNdqPddz5LnutG1ZG6bg1TOn/clW+B1YfMR0rCci/MsSyh1k03g8CpELlNKu7aK3gv58DKyzkwMoprMeBU5tuSTsH+C+x4WC/In8WzHgfZbOt5P7/BfYxzT8jy6msxWh9vSTf5V+baHpIDzWj1u1ucDaVCdyja9dGAxXLur4fk9pL0SrlKOn9K23MyohwYCRvuW2HI21aHaRITV+67+nHineRI0/KQNekuTUr44eJzlOrKlRszobTmAOVLW6SsFn8lpGWdzkdedfm7DuT3qcGctqbipowWqxP6uOru4mgyguHyO3H2Vp02YIqFfdCiqtVRVPZoz9F2460025mOYi/apP4V+i7d9k025jmIn2rw/Bic0i+zb/AKXpFqa1RWrfd83EDnghgA87lmhio59daAE88lAqp8/uXfREfH/tP01qHPftnWse+P3Hb5IwC41S0UQnJGASoohGSMAlRRCckYBKiiGOJAa69oPkso5UCtRTTiVPDNwydlnovMVsOKlIrUdvRF8w1Fb2VVNy0MRqh3yxXjzmoESx7OidqCndVPJTakeMn8vBPY8/lkX907gtP+z9l/8AC/qX3PXSY/3JwQflLzfFd5WLYyxLMZhBTvVV9TysxHX+Xgnse21Gz5i520qdCgS8H9qG1u5ErxxNble7tOVe824NAhtuaNy3rEcuKnlGNTBDNFYMk2C4ry1VqHIlFPmMbxO2n661Y24IUWJ213r8xM9W/qs/kPrrWuL2FN0pTn27/ms+k5IwCr9VLrRDBGoMN17RuXpIjk1mFY1dRquqZvyuc3YSo0WUlY18SE1e5K8cT218RvZcvExmqn5orvNQnWFZjsYPBV9zYkxHT+XgnsR+WRf3TuC8/wCz9l/8L+pfcdJj/d4ISKnJ8UV581Ih2TZ8PswW99/nU8rGjLi9fLyMsKpYQvGVttU9ithpSG1GpsSnkanN0r3LXfebsOjtbc0DyRXKplGohkyRgFioohGSMAlVFEJyRgEqKIMkYJUUQ+fdIh/5D9vOdd2V/aQqFpp/iHfPUreebVIIAnr53oK5/PEb+ZrBknnOhmpd9Ef1/wC0qHO/tnVshU5/uO065uk3eFyNFcizaTcx1zdJu8JorkNJuY65uk3eE0VyGk3Mdc3SbvCaK5DSbmOubpN3hNFchpNzHXN0m7wmiuQ0m5jrm6Td4TRXIaTcx1zdJu8JorkNJuY65uk3eE0VyGk3Mdc3SbvCaK5DSbmOubpN3hNFchpNzPMSK0gycDYc4wWURamFcipifNY3idtKsLcEKREX613marT8WHf4gvEXsKbJRf12bz6OYrdJu8LgaK5F10kzI65uk3eE0VyGk3Mdc3SbvCaK5GNJuY65uk3eE0VyGk3Mdc3SbvCaK5DSbmOubpN3hNFchpNzHXN0m7wmiuQ0m5jrm6Td4TRXIaTcx1zdJu8JorkNJuY65uk3eE0VyGk3Mdc3SbvCaK5GdJuZPWt0m7wmiuQ0kzOB6RH/AMh+1duV/aQqNpL/AIlxWT2qSQKg+fFDCrdcSWc71ip60STD2cy1pUKyhsUKkPguy2ETAw+61xGNiJouN8CK+Xcr2LeWXaWkYjco/QoRO62mNg7SUjSbu1TTocLIz1rMbOA7SUjFu5OhwjCWtMKlbh2lpE727k6HCHW0xXVwA6SUizvNt1J0OFkZS1ZhaYcAOklI0m7k6HCMJa0xhdwB6S0jFu7nBOhwgtrTCJW4dpaRiN21OhQh1tMVpcSeklI0m7k6HCyMraswmXADpHSLO823V906HCCWrMLTDgeR0mj4jds91noUI89bzFK3B3SOOQe8245tiJJwkUytqzCouGGRTuZfdnPNqlVOWrVVV4kwyWuBF4tHl5rC0clFPTKw3IqYpeXHaWkYjdt9lF6FCOl1tMbAeklIxbu2e6dDhBbWmErhwB6SUi3vNs1fdOhwjK2rMJXDgO0tIxG5OhwjHW0xsHaSkaTd2qadDhZGetZjZwJ7SUjFu5OhwjCWtMLfcQektIne3cnQ4Q62mK6gOklIs7zbdSdDhBLVmFphwA6SUjSbu+6dDhGUtWY2cAektIxbuToUIwtrTCJqHaWkYi7DanQoQ62mK0uJPSSkaTdydDhGVtWYTLgVVJiOiPynETdq+6ksRGN0UOfFc6M/Tct6mDJ52kL2aKXVEOBrntGxYrQ983U//9k="/>
          <p:cNvSpPr>
            <a:spLocks noChangeAspect="1" noChangeArrowheads="1"/>
          </p:cNvSpPr>
          <p:nvPr/>
        </p:nvSpPr>
        <p:spPr bwMode="auto">
          <a:xfrm>
            <a:off x="1498600" y="-2117725"/>
            <a:ext cx="5715000" cy="441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solidFill>
                <a:prstClr val="black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7092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9" fill="hold">
                      <p:stCondLst>
                        <p:cond delay="indefinite"/>
                      </p:stCondLst>
                      <p:childTnLst>
                        <p:par>
                          <p:cTn id="30" fill="hold">
                            <p:stCondLst>
                              <p:cond delay="0"/>
                            </p:stCondLst>
                            <p:childTnLst>
                              <p:par>
                                <p:cTn id="3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7" grpId="0"/>
      <p:bldP spid="8" grpId="0"/>
      <p:bldP spid="9" grpId="0"/>
      <p:bldP spid="10" grpId="0"/>
      <p:bldP spid="11" grpId="0"/>
      <p:bldP spid="12" grpId="0"/>
      <p:bldP spid="13" grpId="0"/>
      <p:bldP spid="14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22789" y="304800"/>
            <a:ext cx="6144079" cy="4603168"/>
          </a:xfrm>
          <a:prstGeom prst="rect">
            <a:avLst/>
          </a:prstGeom>
        </p:spPr>
      </p:pic>
      <p:pic>
        <p:nvPicPr>
          <p:cNvPr id="3" name="Picture 2" descr="Y:\Media\Shadowfax\Marketing\moved to Nurn\corporate branding\powerpoint\corporate\Core Presentation PPT 8.12\Images for PPT\OrangeTeacher.pn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200" y="3657600"/>
            <a:ext cx="1054100" cy="291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/>
          <p:cNvSpPr txBox="1"/>
          <p:nvPr/>
        </p:nvSpPr>
        <p:spPr>
          <a:xfrm>
            <a:off x="4724400" y="1066801"/>
            <a:ext cx="495300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>
                <a:solidFill>
                  <a:prstClr val="black"/>
                </a:solidFill>
                <a:latin typeface="Calibri"/>
              </a:rPr>
              <a:t>We are all a part of the effort to help students make the transition to a rich understanding of the English language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264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elearningexperts.files.wordpress.com/2012/07/chalkboard_wood_blac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914400"/>
            <a:ext cx="8420100" cy="429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://www.vacancesfrancaises.com/573-1419-thickbox/chalkboard-eraser-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1" y="4581192"/>
            <a:ext cx="942975" cy="75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Y:\Media\Shadowfax\Marketing\moved to Nurn\corporate branding\powerpoint\corporate\Core Presentation PPT 8.12\Images for PPT\OrangeTeach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810000"/>
            <a:ext cx="1054100" cy="291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8991601" y="4769194"/>
            <a:ext cx="1575265" cy="1880869"/>
            <a:chOff x="-609600" y="3429000"/>
            <a:chExt cx="2284593" cy="25739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09600" y="3429000"/>
              <a:ext cx="2284593" cy="257393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400" y="3936723"/>
              <a:ext cx="838200" cy="62865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362576" y="4920864"/>
            <a:ext cx="1586935" cy="1651594"/>
            <a:chOff x="2079391" y="3429000"/>
            <a:chExt cx="2236369" cy="257393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91" y="3429000"/>
              <a:ext cx="2236369" cy="257393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3600" y="3886200"/>
              <a:ext cx="855845" cy="663599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7413484" y="5269707"/>
            <a:ext cx="1371600" cy="1461631"/>
            <a:chOff x="7438553" y="3445866"/>
            <a:chExt cx="2284593" cy="2573934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8553" y="3445866"/>
              <a:ext cx="2284593" cy="257393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3806" y="3936723"/>
              <a:ext cx="821853" cy="621446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 rot="20999704">
            <a:off x="3216528" y="1273076"/>
            <a:ext cx="4030584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trategies for supporting English Language Learners </a:t>
            </a:r>
            <a:endParaRPr lang="en-US" sz="2800" dirty="0">
              <a:solidFill>
                <a:prstClr val="white">
                  <a:lumMod val="95000"/>
                </a:prstClr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ctangle 24">
            <a:hlinkClick r:id="" action="ppaction://noaction"/>
          </p:cNvPr>
          <p:cNvSpPr/>
          <p:nvPr/>
        </p:nvSpPr>
        <p:spPr>
          <a:xfrm>
            <a:off x="1524000" y="1"/>
            <a:ext cx="1981200" cy="1205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37488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xmlns="" id="{4A8B0B9E-B3F0-4813-A3FD-50B121EE6FC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20170761">
            <a:off x="-7946" y="1389671"/>
            <a:ext cx="6412036" cy="360677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C42CB670-889B-4796-B962-C3052AF8833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5030" y="286919"/>
            <a:ext cx="9718169" cy="75094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03375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elearningexperts.files.wordpress.com/2012/07/chalkboard_wood_blac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914400"/>
            <a:ext cx="8420100" cy="429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://www.vacancesfrancaises.com/573-1419-thickbox/chalkboard-eraser-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1" y="4581192"/>
            <a:ext cx="942975" cy="75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Y:\Media\Shadowfax\Marketing\moved to Nurn\corporate branding\powerpoint\corporate\Core Presentation PPT 8.12\Images for PPT\OrangeTeach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810000"/>
            <a:ext cx="1054100" cy="291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8991601" y="4769194"/>
            <a:ext cx="1575265" cy="1880869"/>
            <a:chOff x="-609600" y="3429000"/>
            <a:chExt cx="2284593" cy="25739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09600" y="3429000"/>
              <a:ext cx="2284593" cy="257393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400" y="3936723"/>
              <a:ext cx="838200" cy="62865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362576" y="4920864"/>
            <a:ext cx="1586935" cy="1651594"/>
            <a:chOff x="2079391" y="3429000"/>
            <a:chExt cx="2236369" cy="257393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91" y="3429000"/>
              <a:ext cx="2236369" cy="257393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3600" y="3886200"/>
              <a:ext cx="855845" cy="663599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7413484" y="5269707"/>
            <a:ext cx="1371600" cy="1461631"/>
            <a:chOff x="7438553" y="3445866"/>
            <a:chExt cx="2284593" cy="2573934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8553" y="3445866"/>
              <a:ext cx="2284593" cy="257393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3806" y="3936723"/>
              <a:ext cx="821853" cy="621446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2590800" y="1273076"/>
            <a:ext cx="6781800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trategy one: </a:t>
            </a:r>
          </a:p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e-teach and Use </a:t>
            </a:r>
          </a:p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Pre-Test results to plan lessons</a:t>
            </a:r>
            <a:endParaRPr lang="en-US" sz="2800" dirty="0">
              <a:solidFill>
                <a:prstClr val="white">
                  <a:lumMod val="95000"/>
                </a:prstClr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ctangle 24">
            <a:hlinkClick r:id="" action="ppaction://noaction"/>
          </p:cNvPr>
          <p:cNvSpPr/>
          <p:nvPr/>
        </p:nvSpPr>
        <p:spPr>
          <a:xfrm>
            <a:off x="1524000" y="1"/>
            <a:ext cx="1981200" cy="1205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89624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4" name="Picture 6" descr="http://elearningexperts.files.wordpress.com/2012/07/chalkboard_wood_black.p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914400"/>
            <a:ext cx="8420100" cy="4295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8" name="Picture 10" descr="http://www.vacancesfrancaises.com/573-1419-thickbox/chalkboard-eraser-large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19601" y="4581192"/>
            <a:ext cx="942975" cy="752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12" descr="Y:\Media\Shadowfax\Marketing\moved to Nurn\corporate branding\powerpoint\corporate\Core Presentation PPT 8.12\Images for PPT\OrangeTeacher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5600" y="3810000"/>
            <a:ext cx="1054100" cy="29194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8991601" y="4769194"/>
            <a:ext cx="1575265" cy="1880869"/>
            <a:chOff x="-609600" y="3429000"/>
            <a:chExt cx="2284593" cy="2573934"/>
          </a:xfrm>
        </p:grpSpPr>
        <p:pic>
          <p:nvPicPr>
            <p:cNvPr id="15" name="Picture 14"/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-609600" y="3429000"/>
              <a:ext cx="2284593" cy="2573934"/>
            </a:xfrm>
            <a:prstGeom prst="rect">
              <a:avLst/>
            </a:prstGeom>
          </p:spPr>
        </p:pic>
        <p:pic>
          <p:nvPicPr>
            <p:cNvPr id="16" name="Picture 15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7400" y="3936723"/>
              <a:ext cx="838200" cy="628650"/>
            </a:xfrm>
            <a:prstGeom prst="rect">
              <a:avLst/>
            </a:prstGeom>
          </p:spPr>
        </p:pic>
      </p:grpSp>
      <p:grpSp>
        <p:nvGrpSpPr>
          <p:cNvPr id="17" name="Group 16"/>
          <p:cNvGrpSpPr/>
          <p:nvPr/>
        </p:nvGrpSpPr>
        <p:grpSpPr>
          <a:xfrm>
            <a:off x="5362576" y="4920864"/>
            <a:ext cx="1586935" cy="1651594"/>
            <a:chOff x="2079391" y="3429000"/>
            <a:chExt cx="2236369" cy="2573934"/>
          </a:xfrm>
        </p:grpSpPr>
        <p:pic>
          <p:nvPicPr>
            <p:cNvPr id="18" name="Picture 17"/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9391" y="3429000"/>
              <a:ext cx="2236369" cy="2573934"/>
            </a:xfrm>
            <a:prstGeom prst="rect">
              <a:avLst/>
            </a:prstGeom>
          </p:spPr>
        </p:pic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33600" y="3886200"/>
              <a:ext cx="855845" cy="663599"/>
            </a:xfrm>
            <a:prstGeom prst="rect">
              <a:avLst/>
            </a:prstGeom>
          </p:spPr>
        </p:pic>
      </p:grpSp>
      <p:grpSp>
        <p:nvGrpSpPr>
          <p:cNvPr id="20" name="Group 19"/>
          <p:cNvGrpSpPr/>
          <p:nvPr/>
        </p:nvGrpSpPr>
        <p:grpSpPr>
          <a:xfrm>
            <a:off x="7413484" y="5269707"/>
            <a:ext cx="1371600" cy="1461631"/>
            <a:chOff x="7438553" y="3445866"/>
            <a:chExt cx="2284593" cy="2573934"/>
          </a:xfrm>
        </p:grpSpPr>
        <p:pic>
          <p:nvPicPr>
            <p:cNvPr id="21" name="Picture 20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438553" y="3445866"/>
              <a:ext cx="2284593" cy="2573934"/>
            </a:xfrm>
            <a:prstGeom prst="rect">
              <a:avLst/>
            </a:prstGeom>
          </p:spPr>
        </p:pic>
        <p:pic>
          <p:nvPicPr>
            <p:cNvPr id="22" name="Picture 21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23806" y="3936723"/>
              <a:ext cx="821853" cy="621446"/>
            </a:xfrm>
            <a:prstGeom prst="rect">
              <a:avLst/>
            </a:prstGeom>
          </p:spPr>
        </p:pic>
      </p:grpSp>
      <p:sp>
        <p:nvSpPr>
          <p:cNvPr id="23" name="TextBox 22"/>
          <p:cNvSpPr txBox="1"/>
          <p:nvPr/>
        </p:nvSpPr>
        <p:spPr>
          <a:xfrm>
            <a:off x="2590800" y="1273075"/>
            <a:ext cx="67818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Strategy two: </a:t>
            </a:r>
          </a:p>
          <a:p>
            <a:pPr algn="ctr"/>
            <a:r>
              <a:rPr lang="en-US" sz="4000" dirty="0">
                <a:solidFill>
                  <a:prstClr val="white">
                    <a:lumMod val="95000"/>
                  </a:prstClr>
                </a:solidFill>
                <a:latin typeface="MV Boli" panose="02000500030200090000" pitchFamily="2" charset="0"/>
                <a:cs typeface="MV Boli" panose="02000500030200090000" pitchFamily="2" charset="0"/>
              </a:rPr>
              <a:t>Implement an effective correction/feedback model</a:t>
            </a:r>
            <a:endParaRPr lang="en-US" sz="2800" dirty="0">
              <a:solidFill>
                <a:prstClr val="white">
                  <a:lumMod val="95000"/>
                </a:prstClr>
              </a:solidFill>
              <a:latin typeface="MV Boli" panose="02000500030200090000" pitchFamily="2" charset="0"/>
              <a:cs typeface="MV Boli" panose="02000500030200090000" pitchFamily="2" charset="0"/>
            </a:endParaRPr>
          </a:p>
        </p:txBody>
      </p:sp>
      <p:sp>
        <p:nvSpPr>
          <p:cNvPr id="25" name="Rectangle 24">
            <a:hlinkClick r:id="" action="ppaction://noaction"/>
          </p:cNvPr>
          <p:cNvSpPr/>
          <p:nvPr/>
        </p:nvSpPr>
        <p:spPr>
          <a:xfrm>
            <a:off x="1524000" y="1"/>
            <a:ext cx="1981200" cy="12052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  <a:latin typeface="Calibri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454513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eca342b-31b2-4b1e-b231-1f593fe6021b"/>
  <p:tag name="MIO_EK" val="6253"/>
  <p:tag name="MIO_UPDATE" val="True"/>
  <p:tag name="MIO_VERSION" val="25.02.2015 14:22:55"/>
  <p:tag name="MIO_DBID" val="D8E50974-6AC7-4D24-9699-341592F37D9A"/>
  <p:tag name="MIO_LASTDOWNLOADED" val="13.08.2015 14:44:08"/>
  <p:tag name="MIO_OBJECTNAME" val="frame on blank background (insert picture/screensh"/>
  <p:tag name="MIO_LASTEDITORNAME" val="Michael Allred"/>
  <p:tag name="MIO_EK_DESIGN" val="-1"/>
  <p:tag name="MIO_VERSION_DESIGN" val="01.01.0001 00:00:0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ceca342b-31b2-4b1e-b231-1f593fe6021b"/>
  <p:tag name="MIO_EK" val="6253"/>
  <p:tag name="MIO_UPDATE" val="True"/>
  <p:tag name="MIO_VERSION" val="25.02.2015 14:22:55"/>
  <p:tag name="MIO_DBID" val="D8E50974-6AC7-4D24-9699-341592F37D9A"/>
  <p:tag name="MIO_LASTDOWNLOADED" val="13.08.2015 14:44:08"/>
  <p:tag name="MIO_OBJECTNAME" val="frame on blank background (insert picture/screensh"/>
  <p:tag name="MIO_LASTEDITORNAME" val="Michael Allred"/>
  <p:tag name="MIO_EK_DESIGN" val="-1"/>
  <p:tag name="MIO_VERSION_DESIGN" val="01.01.0001 00:00:0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336f2010-23c1-49a7-931f-1aa3d1bff636"/>
  <p:tag name="MIO_EK" val="6270"/>
  <p:tag name="MIO_UPDATE" val="True"/>
  <p:tag name="MIO_VERSION" val="25.02.2015 14:23:48"/>
  <p:tag name="MIO_DBID" val="D8E50974-6AC7-4D24-9699-341592F37D9A"/>
  <p:tag name="MIO_LASTDOWNLOADED" val="13.08.2015 14:44:23"/>
  <p:tag name="MIO_OBJECTNAME" val="Slide 30"/>
  <p:tag name="MIO_LASTEDITORNAME" val="Michael Allred"/>
  <p:tag name="MIO_EK_DESIGN" val="-1"/>
  <p:tag name="MIO_VERSION_DESIGN" val="01.01.0001 00:00:0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5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Gallery">
  <a:themeElements>
    <a:clrScheme name="Gallery">
      <a:dk1>
        <a:sysClr val="windowText" lastClr="000000"/>
      </a:dk1>
      <a:lt1>
        <a:sysClr val="window" lastClr="FFFFFF"/>
      </a:lt1>
      <a:dk2>
        <a:srgbClr val="454545"/>
      </a:dk2>
      <a:lt2>
        <a:srgbClr val="DCDCE0"/>
      </a:lt2>
      <a:accent1>
        <a:srgbClr val="415588"/>
      </a:accent1>
      <a:accent2>
        <a:srgbClr val="4294B6"/>
      </a:accent2>
      <a:accent3>
        <a:srgbClr val="087D7C"/>
      </a:accent3>
      <a:accent4>
        <a:srgbClr val="2CB663"/>
      </a:accent4>
      <a:accent5>
        <a:srgbClr val="DF8822"/>
      </a:accent5>
      <a:accent6>
        <a:srgbClr val="BC410A"/>
      </a:accent6>
      <a:hlink>
        <a:srgbClr val="5977C4"/>
      </a:hlink>
      <a:folHlink>
        <a:srgbClr val="A1A9BF"/>
      </a:folHlink>
    </a:clrScheme>
    <a:fontScheme name="Gallery">
      <a:majorFont>
        <a:latin typeface="Century Gothic" panose="020B0502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Gallery">
      <a:fillStyleLst>
        <a:solidFill>
          <a:schemeClr val="phClr"/>
        </a:solidFill>
        <a:gradFill rotWithShape="1">
          <a:gsLst>
            <a:gs pos="0">
              <a:schemeClr val="phClr">
                <a:tint val="54000"/>
                <a:alpha val="100000"/>
                <a:satMod val="105000"/>
                <a:lumMod val="110000"/>
              </a:schemeClr>
            </a:gs>
            <a:gs pos="100000">
              <a:schemeClr val="phClr">
                <a:tint val="78000"/>
                <a:alpha val="92000"/>
                <a:satMod val="109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satMod val="110000"/>
                <a:lumMod val="104000"/>
              </a:schemeClr>
            </a:gs>
            <a:gs pos="69000">
              <a:schemeClr val="phClr">
                <a:shade val="88000"/>
                <a:satMod val="130000"/>
                <a:lumMod val="92000"/>
              </a:schemeClr>
            </a:gs>
            <a:gs pos="100000">
              <a:schemeClr val="phClr">
                <a:shade val="78000"/>
                <a:satMod val="130000"/>
                <a:lumMod val="92000"/>
              </a:schemeClr>
            </a:gs>
          </a:gsLst>
          <a:lin ang="54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22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0800" dist="50800" dir="5400000" sx="96000" sy="96000" rotWithShape="0">
              <a:srgbClr val="000000">
                <a:alpha val="48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1080000"/>
            </a:lightRig>
          </a:scene3d>
          <a:sp3d>
            <a:bevelT w="38100" h="12700" prst="softRound"/>
          </a:sp3d>
        </a:effectStyle>
      </a:effectStyleLst>
      <a:bgFillStyleLst>
        <a:solidFill>
          <a:schemeClr val="phClr"/>
        </a:solidFill>
        <a:solidFill>
          <a:schemeClr val="phClr"/>
        </a:solidFill>
        <a:gradFill rotWithShape="1">
          <a:gsLst>
            <a:gs pos="0">
              <a:schemeClr val="phClr">
                <a:tint val="94000"/>
                <a:satMod val="80000"/>
                <a:lumMod val="106000"/>
              </a:schemeClr>
            </a:gs>
            <a:gs pos="100000">
              <a:schemeClr val="phClr">
                <a:shade val="80000"/>
                <a:lumMod val="108000"/>
              </a:schemeClr>
            </a:gs>
          </a:gsLst>
          <a:path path="circle">
            <a:fillToRect l="43000" r="43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Gallery" id="{BBFCD31E-59A1-489D-B089-A3EAD7CAE12E}" vid="{E050AC27-895F-4B90-991D-A6818FC89AB6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91</TotalTime>
  <Words>1903</Words>
  <Application>Microsoft Macintosh PowerPoint</Application>
  <PresentationFormat>Widescreen</PresentationFormat>
  <Paragraphs>241</Paragraphs>
  <Slides>29</Slides>
  <Notes>2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40" baseType="lpstr">
      <vt:lpstr>Arial</vt:lpstr>
      <vt:lpstr>Calibri</vt:lpstr>
      <vt:lpstr>Century Gothic</vt:lpstr>
      <vt:lpstr>MV Boli</vt:lpstr>
      <vt:lpstr>Segoe Print</vt:lpstr>
      <vt:lpstr>Wingdings</vt:lpstr>
      <vt:lpstr>Wingdings 2</vt:lpstr>
      <vt:lpstr>1_Office Theme</vt:lpstr>
      <vt:lpstr>15_Office Theme</vt:lpstr>
      <vt:lpstr>Gallery</vt:lpstr>
      <vt:lpstr>Acrobat Document</vt:lpstr>
      <vt:lpstr>Translating ELL strategies to the General Education Classroo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27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is Oviedo</dc:creator>
  <cp:lastModifiedBy>WENDY</cp:lastModifiedBy>
  <cp:revision>7</cp:revision>
  <cp:lastPrinted>2017-12-10T20:44:55Z</cp:lastPrinted>
  <dcterms:created xsi:type="dcterms:W3CDTF">2017-11-08T22:28:07Z</dcterms:created>
  <dcterms:modified xsi:type="dcterms:W3CDTF">2017-12-10T20:45:21Z</dcterms:modified>
</cp:coreProperties>
</file>